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</p:sldMasterIdLst>
  <p:notesMasterIdLst>
    <p:notesMasterId r:id="rId27"/>
  </p:notesMasterIdLst>
  <p:sldIdLst>
    <p:sldId id="269" r:id="rId5"/>
    <p:sldId id="297" r:id="rId6"/>
    <p:sldId id="266" r:id="rId7"/>
    <p:sldId id="469" r:id="rId8"/>
    <p:sldId id="454" r:id="rId9"/>
    <p:sldId id="470" r:id="rId10"/>
    <p:sldId id="471" r:id="rId11"/>
    <p:sldId id="472" r:id="rId12"/>
    <p:sldId id="482" r:id="rId13"/>
    <p:sldId id="483" r:id="rId14"/>
    <p:sldId id="485" r:id="rId15"/>
    <p:sldId id="486" r:id="rId16"/>
    <p:sldId id="487" r:id="rId17"/>
    <p:sldId id="484" r:id="rId18"/>
    <p:sldId id="372" r:id="rId19"/>
    <p:sldId id="488" r:id="rId20"/>
    <p:sldId id="491" r:id="rId21"/>
    <p:sldId id="478" r:id="rId22"/>
    <p:sldId id="479" r:id="rId23"/>
    <p:sldId id="489" r:id="rId24"/>
    <p:sldId id="480" r:id="rId25"/>
    <p:sldId id="490" r:id="rId26"/>
  </p:sldIdLst>
  <p:sldSz cx="9144000" cy="6858000" type="screen4x3"/>
  <p:notesSz cx="6735763" cy="9866313"/>
  <p:custDataLst>
    <p:tags r:id="rId28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作成者" initials="A" lastIdx="12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50"/>
    <a:srgbClr val="66B6A3"/>
    <a:srgbClr val="83CCAA"/>
    <a:srgbClr val="007864"/>
    <a:srgbClr val="FFFFFF"/>
    <a:srgbClr val="FFFFCC"/>
    <a:srgbClr val="CCFFCC"/>
    <a:srgbClr val="2F52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B75B2F-0C0B-47DD-9693-7E2F6FE03B59}" v="12" dt="2024-01-30T06:29:11.25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26" autoAdjust="0"/>
    <p:restoredTop sz="96159" autoAdjust="0"/>
  </p:normalViewPr>
  <p:slideViewPr>
    <p:cSldViewPr snapToObjects="1">
      <p:cViewPr varScale="1">
        <p:scale>
          <a:sx n="83" d="100"/>
          <a:sy n="83" d="100"/>
        </p:scale>
        <p:origin x="90" y="71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80" d="100"/>
          <a:sy n="80" d="100"/>
        </p:scale>
        <p:origin x="317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BA50B120-CD90-CA4A-A384-DB7B908530F3}" type="datetimeFigureOut">
              <a:rPr kumimoji="1" lang="ja-JP" altLang="en-US" smtClean="0"/>
              <a:t>2024/7/6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49350" y="1233488"/>
            <a:ext cx="443706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4"/>
            <a:ext cx="5388610" cy="3884861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2B53D04A-B60E-1241-96E3-BBB7CC6C31A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310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673577" y="4645124"/>
            <a:ext cx="5388610" cy="4726162"/>
          </a:xfrm>
        </p:spPr>
        <p:txBody>
          <a:bodyPr/>
          <a:lstStyle/>
          <a:p>
            <a:pPr indent="89856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535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847593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535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981007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89856" algn="l" defTabSz="8356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551588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535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700457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89856" algn="l" defTabSz="8356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298002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81961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4453227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9365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4054516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345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7245911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345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105157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6979449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9365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1204535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93345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871719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856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965800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714570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159248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856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325221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856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507448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535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432095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86" userDrawn="1">
          <p15:clr>
            <a:srgbClr val="FBAE40"/>
          </p15:clr>
        </p15:guide>
        <p15:guide id="16" pos="378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1253" userDrawn="1">
          <p15:clr>
            <a:srgbClr val="FBAE40"/>
          </p15:clr>
        </p15:guide>
        <p15:guide id="19" orient="horz" pos="1026" userDrawn="1">
          <p15:clr>
            <a:srgbClr val="FBAE40"/>
          </p15:clr>
        </p15:guide>
        <p15:guide id="20" orient="horz" pos="1480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3861" userDrawn="1">
          <p15:clr>
            <a:srgbClr val="FBAE40"/>
          </p15:clr>
        </p15:guide>
        <p15:guide id="23" pos="185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4/7/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64B3BCCB-7D01-488D-9278-2A8143705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3861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64B3BCCB-7D01-488D-9278-2A8143705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4/7/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2.png"/><Relationship Id="rId7" Type="http://schemas.microsoft.com/office/2007/relationships/hdphoto" Target="../media/hdphoto2.wdp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4.png"/><Relationship Id="rId5" Type="http://schemas.microsoft.com/office/2007/relationships/hdphoto" Target="../media/hdphoto1.wdp"/><Relationship Id="rId10" Type="http://schemas.openxmlformats.org/officeDocument/2006/relationships/image" Target="../media/image37.png"/><Relationship Id="rId4" Type="http://schemas.openxmlformats.org/officeDocument/2006/relationships/image" Target="../media/image33.png"/><Relationship Id="rId9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4.png"/><Relationship Id="rId5" Type="http://schemas.openxmlformats.org/officeDocument/2006/relationships/image" Target="../media/image38.png"/><Relationship Id="rId4" Type="http://schemas.openxmlformats.org/officeDocument/2006/relationships/image" Target="../media/image4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2.png"/><Relationship Id="rId5" Type="http://schemas.openxmlformats.org/officeDocument/2006/relationships/image" Target="../media/image43.png"/><Relationship Id="rId4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7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5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mailto:funpluswalk@mext.go.jp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角丸四角形 1"/>
          <p:cNvSpPr/>
          <p:nvPr/>
        </p:nvSpPr>
        <p:spPr>
          <a:xfrm>
            <a:off x="1333654" y="2510559"/>
            <a:ext cx="6476692" cy="1800000"/>
          </a:xfrm>
          <a:prstGeom prst="roundRect">
            <a:avLst>
              <a:gd name="adj" fmla="val 9790"/>
            </a:avLst>
          </a:prstGeom>
          <a:solidFill>
            <a:srgbClr val="0096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ja-JP" sz="4000" b="1">
                <a:latin typeface="メイリオ" panose="020B0604030504040204" pitchFamily="50" charset="-128"/>
                <a:ea typeface="メイリオ" panose="020B0604030504040204" pitchFamily="50" charset="-128"/>
              </a:rPr>
              <a:t>FUN</a:t>
            </a:r>
            <a:r>
              <a:rPr lang="ja-JP" altLang="en-US" sz="4000" b="1"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r>
              <a:rPr lang="en-US" altLang="ja-JP" sz="4000" b="1">
                <a:latin typeface="メイリオ" panose="020B0604030504040204" pitchFamily="50" charset="-128"/>
                <a:ea typeface="メイリオ" panose="020B0604030504040204" pitchFamily="50" charset="-128"/>
              </a:rPr>
              <a:t>WALK</a:t>
            </a:r>
            <a:r>
              <a:rPr lang="ja-JP" altLang="en-US" sz="4000" b="1">
                <a:latin typeface="メイリオ" panose="020B0604030504040204" pitchFamily="50" charset="-128"/>
                <a:ea typeface="メイリオ" panose="020B0604030504040204" pitchFamily="50" charset="-128"/>
              </a:rPr>
              <a:t>アプリを使って楽しく歩こう</a:t>
            </a:r>
            <a:endParaRPr lang="ja-JP" altLang="en-US" sz="40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975628" y="1692108"/>
            <a:ext cx="7192745" cy="13365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ja-JP" sz="4800" dirty="0">
              <a:solidFill>
                <a:schemeClr val="bg1"/>
              </a:solidFill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E8D182D9-8410-4FBF-A4EB-BF48554D06E2}"/>
              </a:ext>
            </a:extLst>
          </p:cNvPr>
          <p:cNvSpPr txBox="1"/>
          <p:nvPr/>
        </p:nvSpPr>
        <p:spPr>
          <a:xfrm>
            <a:off x="7668344" y="6077743"/>
            <a:ext cx="14756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令和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6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年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1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月</a:t>
            </a:r>
            <a:endParaRPr kumimoji="1"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5" name="図 4" descr="「デジタル活用支援推進事業」を表すロゴマーク">
            <a:extLst>
              <a:ext uri="{FF2B5EF4-FFF2-40B4-BE49-F238E27FC236}">
                <a16:creationId xmlns:a16="http://schemas.microsoft.com/office/drawing/2014/main" id="{A3D6452D-7AD7-4280-B18E-1A688305B91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7485" y="196467"/>
            <a:ext cx="750231" cy="1113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7372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5263877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利用設定</a:t>
            </a:r>
            <a:endParaRPr lang="ja-JP" altLang="en-US" sz="28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1" name="タイトル 1">
            <a:extLst>
              <a:ext uri="{FF2B5EF4-FFF2-40B4-BE49-F238E27FC236}">
                <a16:creationId xmlns:a16="http://schemas.microsoft.com/office/drawing/2014/main" id="{D592821F-EE96-6688-E380-8B0FBF773815}"/>
              </a:ext>
            </a:extLst>
          </p:cNvPr>
          <p:cNvSpPr txBox="1">
            <a:spLocks/>
          </p:cNvSpPr>
          <p:nvPr/>
        </p:nvSpPr>
        <p:spPr>
          <a:xfrm>
            <a:off x="426570" y="1198365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引き続き、アプリの初期設定をしましょう</a:t>
            </a: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FD80386E-F7E3-A978-BFF8-BE6008AEEB5E}"/>
              </a:ext>
            </a:extLst>
          </p:cNvPr>
          <p:cNvSpPr txBox="1"/>
          <p:nvPr/>
        </p:nvSpPr>
        <p:spPr>
          <a:xfrm>
            <a:off x="384977" y="1796148"/>
            <a:ext cx="205293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❺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赤枠内を入力し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b="1" kern="1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次へ」を押す</a:t>
            </a:r>
            <a:endParaRPr lang="ja-JP" altLang="ja-JP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66071952-269E-4708-8C2D-FA2E809A4427}"/>
              </a:ext>
            </a:extLst>
          </p:cNvPr>
          <p:cNvSpPr txBox="1"/>
          <p:nvPr/>
        </p:nvSpPr>
        <p:spPr>
          <a:xfrm>
            <a:off x="2542671" y="1790899"/>
            <a:ext cx="205293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❻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キャラクター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 一覧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5E9AAFF0-FC89-D19B-FAA3-529E735EA51E}"/>
              </a:ext>
            </a:extLst>
          </p:cNvPr>
          <p:cNvSpPr txBox="1"/>
          <p:nvPr/>
        </p:nvSpPr>
        <p:spPr>
          <a:xfrm>
            <a:off x="4511405" y="1681258"/>
            <a:ext cx="2277312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➐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キャラクターの画面になるので画面をスワイプして選びま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65" name="テキスト ボックス 64">
            <a:extLst>
              <a:ext uri="{FF2B5EF4-FFF2-40B4-BE49-F238E27FC236}">
                <a16:creationId xmlns:a16="http://schemas.microsoft.com/office/drawing/2014/main" id="{8D722303-E708-2E57-F1C0-1C9E34C9EB5A}"/>
              </a:ext>
            </a:extLst>
          </p:cNvPr>
          <p:cNvSpPr txBox="1"/>
          <p:nvPr/>
        </p:nvSpPr>
        <p:spPr>
          <a:xfrm>
            <a:off x="6695891" y="1661699"/>
            <a:ext cx="2088232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➑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選択したいキャラクターを押し「キャラクター決定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pic>
        <p:nvPicPr>
          <p:cNvPr id="38" name="図 3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59047763-6695-073F-0047-E580BB2663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2367" y="2818423"/>
            <a:ext cx="1691433" cy="340593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5" name="矢印: 右 44">
            <a:extLst>
              <a:ext uri="{FF2B5EF4-FFF2-40B4-BE49-F238E27FC236}">
                <a16:creationId xmlns:a16="http://schemas.microsoft.com/office/drawing/2014/main" id="{94AA49B6-076F-3A56-1612-DA4E35C4D308}"/>
              </a:ext>
            </a:extLst>
          </p:cNvPr>
          <p:cNvSpPr/>
          <p:nvPr/>
        </p:nvSpPr>
        <p:spPr>
          <a:xfrm>
            <a:off x="5215016" y="3950758"/>
            <a:ext cx="806136" cy="520897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20" name="図 19" descr="テキスト, 手紙&#10;&#10;自動的に生成された説明">
            <a:extLst>
              <a:ext uri="{FF2B5EF4-FFF2-40B4-BE49-F238E27FC236}">
                <a16:creationId xmlns:a16="http://schemas.microsoft.com/office/drawing/2014/main" id="{4B1BEE53-26EA-7543-4567-2499F95C2E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65393" y="2811741"/>
            <a:ext cx="1691433" cy="341262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E0E7C05F-B118-09E6-21CB-F3816AAABFF3}"/>
              </a:ext>
            </a:extLst>
          </p:cNvPr>
          <p:cNvSpPr>
            <a:spLocks/>
          </p:cNvSpPr>
          <p:nvPr/>
        </p:nvSpPr>
        <p:spPr>
          <a:xfrm>
            <a:off x="3026083" y="5227476"/>
            <a:ext cx="984976" cy="290653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21" name="図 20" descr="グラフィカル ユーザー インターフェイス, テキスト, アプリケーション, メール&#10;&#10;自動的に生成された説明">
            <a:extLst>
              <a:ext uri="{FF2B5EF4-FFF2-40B4-BE49-F238E27FC236}">
                <a16:creationId xmlns:a16="http://schemas.microsoft.com/office/drawing/2014/main" id="{781B8D8C-8928-BE1B-9112-AC03F7503A1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4209" y="2817843"/>
            <a:ext cx="1691433" cy="341262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F2769A9B-0222-E9B1-D80D-CD0ADAC44AA9}"/>
              </a:ext>
            </a:extLst>
          </p:cNvPr>
          <p:cNvSpPr>
            <a:spLocks/>
          </p:cNvSpPr>
          <p:nvPr/>
        </p:nvSpPr>
        <p:spPr>
          <a:xfrm>
            <a:off x="641894" y="3864155"/>
            <a:ext cx="1407780" cy="1202853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970DF764-5061-00D9-D6F2-5CABCE12C675}"/>
              </a:ext>
            </a:extLst>
          </p:cNvPr>
          <p:cNvSpPr>
            <a:spLocks/>
          </p:cNvSpPr>
          <p:nvPr/>
        </p:nvSpPr>
        <p:spPr>
          <a:xfrm>
            <a:off x="1359925" y="5757643"/>
            <a:ext cx="589764" cy="32306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43" name="図 42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6EC3406D-8709-0E3B-124B-E5619D4C8A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6162" y="2824527"/>
            <a:ext cx="1632632" cy="340593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0" name="正方形/長方形 59">
            <a:extLst>
              <a:ext uri="{FF2B5EF4-FFF2-40B4-BE49-F238E27FC236}">
                <a16:creationId xmlns:a16="http://schemas.microsoft.com/office/drawing/2014/main" id="{D2612C30-69DB-DD74-58EC-C3BD6364CAED}"/>
              </a:ext>
            </a:extLst>
          </p:cNvPr>
          <p:cNvSpPr>
            <a:spLocks/>
          </p:cNvSpPr>
          <p:nvPr/>
        </p:nvSpPr>
        <p:spPr>
          <a:xfrm>
            <a:off x="7281486" y="5436005"/>
            <a:ext cx="844554" cy="205633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4" name="正方形/長方形 63">
            <a:extLst>
              <a:ext uri="{FF2B5EF4-FFF2-40B4-BE49-F238E27FC236}">
                <a16:creationId xmlns:a16="http://schemas.microsoft.com/office/drawing/2014/main" id="{56ECA49E-17C5-8F99-0700-6904A35D7173}"/>
              </a:ext>
            </a:extLst>
          </p:cNvPr>
          <p:cNvSpPr>
            <a:spLocks/>
          </p:cNvSpPr>
          <p:nvPr/>
        </p:nvSpPr>
        <p:spPr>
          <a:xfrm>
            <a:off x="7102165" y="3450181"/>
            <a:ext cx="487696" cy="41901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9" name="図形グループ 17">
            <a:extLst>
              <a:ext uri="{FF2B5EF4-FFF2-40B4-BE49-F238E27FC236}">
                <a16:creationId xmlns:a16="http://schemas.microsoft.com/office/drawing/2014/main" id="{C860A670-3136-0B06-7824-B21FA88F0A6E}"/>
              </a:ext>
            </a:extLst>
          </p:cNvPr>
          <p:cNvGrpSpPr/>
          <p:nvPr/>
        </p:nvGrpSpPr>
        <p:grpSpPr>
          <a:xfrm>
            <a:off x="5114366" y="3705505"/>
            <a:ext cx="352608" cy="324109"/>
            <a:chOff x="7423697" y="3995693"/>
            <a:chExt cx="296586" cy="293005"/>
          </a:xfrm>
        </p:grpSpPr>
        <p:sp>
          <p:nvSpPr>
            <p:cNvPr id="10" name="円/楕円 18">
              <a:extLst>
                <a:ext uri="{FF2B5EF4-FFF2-40B4-BE49-F238E27FC236}">
                  <a16:creationId xmlns:a16="http://schemas.microsoft.com/office/drawing/2014/main" id="{2B1FF741-E71E-411F-BAE3-615AA1B238A9}"/>
                </a:ext>
              </a:extLst>
            </p:cNvPr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11" name="フリーフォーム 19">
              <a:extLst>
                <a:ext uri="{FF2B5EF4-FFF2-40B4-BE49-F238E27FC236}">
                  <a16:creationId xmlns:a16="http://schemas.microsoft.com/office/drawing/2014/main" id="{AE6ADCB2-B9F1-1761-1006-E8DD6616CFF8}"/>
                </a:ext>
              </a:extLst>
            </p:cNvPr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pSp>
        <p:nvGrpSpPr>
          <p:cNvPr id="12" name="図形グループ 20">
            <a:extLst>
              <a:ext uri="{FF2B5EF4-FFF2-40B4-BE49-F238E27FC236}">
                <a16:creationId xmlns:a16="http://schemas.microsoft.com/office/drawing/2014/main" id="{9997159F-9B90-FBF2-7278-7FC914708167}"/>
              </a:ext>
            </a:extLst>
          </p:cNvPr>
          <p:cNvGrpSpPr/>
          <p:nvPr/>
        </p:nvGrpSpPr>
        <p:grpSpPr>
          <a:xfrm>
            <a:off x="2894731" y="4957234"/>
            <a:ext cx="351084" cy="323341"/>
            <a:chOff x="6801905" y="3995693"/>
            <a:chExt cx="296586" cy="293005"/>
          </a:xfrm>
        </p:grpSpPr>
        <p:sp>
          <p:nvSpPr>
            <p:cNvPr id="13" name="円/楕円 21">
              <a:extLst>
                <a:ext uri="{FF2B5EF4-FFF2-40B4-BE49-F238E27FC236}">
                  <a16:creationId xmlns:a16="http://schemas.microsoft.com/office/drawing/2014/main" id="{27ED5A7E-B5CA-0205-5EAF-B1AB820B1A62}"/>
                </a:ext>
              </a:extLst>
            </p:cNvPr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14" name="フリーフォーム 22">
              <a:extLst>
                <a:ext uri="{FF2B5EF4-FFF2-40B4-BE49-F238E27FC236}">
                  <a16:creationId xmlns:a16="http://schemas.microsoft.com/office/drawing/2014/main" id="{48109887-3537-5658-B776-45B528656906}"/>
                </a:ext>
              </a:extLst>
            </p:cNvPr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pSp>
        <p:nvGrpSpPr>
          <p:cNvPr id="15" name="図形グループ 23">
            <a:extLst>
              <a:ext uri="{FF2B5EF4-FFF2-40B4-BE49-F238E27FC236}">
                <a16:creationId xmlns:a16="http://schemas.microsoft.com/office/drawing/2014/main" id="{AE87B293-4856-8B95-725B-C0D8DA30F415}"/>
              </a:ext>
            </a:extLst>
          </p:cNvPr>
          <p:cNvGrpSpPr/>
          <p:nvPr/>
        </p:nvGrpSpPr>
        <p:grpSpPr>
          <a:xfrm>
            <a:off x="471190" y="3618391"/>
            <a:ext cx="352471" cy="324619"/>
            <a:chOff x="5878361" y="3995693"/>
            <a:chExt cx="296586" cy="293005"/>
          </a:xfrm>
        </p:grpSpPr>
        <p:sp>
          <p:nvSpPr>
            <p:cNvPr id="16" name="円/楕円 24">
              <a:extLst>
                <a:ext uri="{FF2B5EF4-FFF2-40B4-BE49-F238E27FC236}">
                  <a16:creationId xmlns:a16="http://schemas.microsoft.com/office/drawing/2014/main" id="{8D9FF7E1-DF8E-FEE4-FCE6-7DDFD3C670EF}"/>
                </a:ext>
              </a:extLst>
            </p:cNvPr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17" name="フリーフォーム 25">
              <a:extLst>
                <a:ext uri="{FF2B5EF4-FFF2-40B4-BE49-F238E27FC236}">
                  <a16:creationId xmlns:a16="http://schemas.microsoft.com/office/drawing/2014/main" id="{AE45E30F-1549-4E8D-2F31-7D24FD0780C5}"/>
                </a:ext>
              </a:extLst>
            </p:cNvPr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pSp>
        <p:nvGrpSpPr>
          <p:cNvPr id="18" name="図形グループ 23">
            <a:extLst>
              <a:ext uri="{FF2B5EF4-FFF2-40B4-BE49-F238E27FC236}">
                <a16:creationId xmlns:a16="http://schemas.microsoft.com/office/drawing/2014/main" id="{56514ACD-E288-27AF-4E86-E9F11871D55A}"/>
              </a:ext>
            </a:extLst>
          </p:cNvPr>
          <p:cNvGrpSpPr/>
          <p:nvPr/>
        </p:nvGrpSpPr>
        <p:grpSpPr>
          <a:xfrm>
            <a:off x="1245202" y="5479480"/>
            <a:ext cx="352471" cy="324619"/>
            <a:chOff x="5878361" y="3995693"/>
            <a:chExt cx="296586" cy="293005"/>
          </a:xfrm>
        </p:grpSpPr>
        <p:sp>
          <p:nvSpPr>
            <p:cNvPr id="19" name="円/楕円 24">
              <a:extLst>
                <a:ext uri="{FF2B5EF4-FFF2-40B4-BE49-F238E27FC236}">
                  <a16:creationId xmlns:a16="http://schemas.microsoft.com/office/drawing/2014/main" id="{2AC4DF52-5911-60CF-1F38-713527AFBE59}"/>
                </a:ext>
              </a:extLst>
            </p:cNvPr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22" name="フリーフォーム 25">
              <a:extLst>
                <a:ext uri="{FF2B5EF4-FFF2-40B4-BE49-F238E27FC236}">
                  <a16:creationId xmlns:a16="http://schemas.microsoft.com/office/drawing/2014/main" id="{C7027C25-EE01-9149-1BA0-FE0AD6F7752A}"/>
                </a:ext>
              </a:extLst>
            </p:cNvPr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pSp>
        <p:nvGrpSpPr>
          <p:cNvPr id="23" name="図形グループ 8">
            <a:extLst>
              <a:ext uri="{FF2B5EF4-FFF2-40B4-BE49-F238E27FC236}">
                <a16:creationId xmlns:a16="http://schemas.microsoft.com/office/drawing/2014/main" id="{425F338E-D9FC-8908-A519-2D2E5272476E}"/>
              </a:ext>
            </a:extLst>
          </p:cNvPr>
          <p:cNvGrpSpPr/>
          <p:nvPr/>
        </p:nvGrpSpPr>
        <p:grpSpPr>
          <a:xfrm>
            <a:off x="6714298" y="3317310"/>
            <a:ext cx="340350" cy="324109"/>
            <a:chOff x="8127785" y="3995693"/>
            <a:chExt cx="296586" cy="293005"/>
          </a:xfrm>
        </p:grpSpPr>
        <p:sp>
          <p:nvSpPr>
            <p:cNvPr id="24" name="円/楕円 12">
              <a:extLst>
                <a:ext uri="{FF2B5EF4-FFF2-40B4-BE49-F238E27FC236}">
                  <a16:creationId xmlns:a16="http://schemas.microsoft.com/office/drawing/2014/main" id="{076B03F3-B27E-87A1-A785-323AFC3D4657}"/>
                </a:ext>
              </a:extLst>
            </p:cNvPr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25" name="フリーフォーム 13">
              <a:extLst>
                <a:ext uri="{FF2B5EF4-FFF2-40B4-BE49-F238E27FC236}">
                  <a16:creationId xmlns:a16="http://schemas.microsoft.com/office/drawing/2014/main" id="{A5D9FB83-FB42-495E-353D-8FBC70FBF0BE}"/>
                </a:ext>
              </a:extLst>
            </p:cNvPr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pSp>
        <p:nvGrpSpPr>
          <p:cNvPr id="26" name="図形グループ 8">
            <a:extLst>
              <a:ext uri="{FF2B5EF4-FFF2-40B4-BE49-F238E27FC236}">
                <a16:creationId xmlns:a16="http://schemas.microsoft.com/office/drawing/2014/main" id="{4BF7F6B6-0973-79C0-7C7D-D22B8DE06113}"/>
              </a:ext>
            </a:extLst>
          </p:cNvPr>
          <p:cNvGrpSpPr/>
          <p:nvPr/>
        </p:nvGrpSpPr>
        <p:grpSpPr>
          <a:xfrm>
            <a:off x="7229536" y="5164280"/>
            <a:ext cx="340350" cy="324109"/>
            <a:chOff x="8127785" y="3995693"/>
            <a:chExt cx="296586" cy="293005"/>
          </a:xfrm>
        </p:grpSpPr>
        <p:sp>
          <p:nvSpPr>
            <p:cNvPr id="27" name="円/楕円 12">
              <a:extLst>
                <a:ext uri="{FF2B5EF4-FFF2-40B4-BE49-F238E27FC236}">
                  <a16:creationId xmlns:a16="http://schemas.microsoft.com/office/drawing/2014/main" id="{DD6C156F-18BE-2F7D-F76F-313188069C5A}"/>
                </a:ext>
              </a:extLst>
            </p:cNvPr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28" name="フリーフォーム 13">
              <a:extLst>
                <a:ext uri="{FF2B5EF4-FFF2-40B4-BE49-F238E27FC236}">
                  <a16:creationId xmlns:a16="http://schemas.microsoft.com/office/drawing/2014/main" id="{F7937E53-6943-0C5E-7D98-C129239BAD73}"/>
                </a:ext>
              </a:extLst>
            </p:cNvPr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05437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5263877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利用設定</a:t>
            </a:r>
            <a:endParaRPr lang="ja-JP" altLang="en-US" sz="28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1" name="タイトル 1">
            <a:extLst>
              <a:ext uri="{FF2B5EF4-FFF2-40B4-BE49-F238E27FC236}">
                <a16:creationId xmlns:a16="http://schemas.microsoft.com/office/drawing/2014/main" id="{D592821F-EE96-6688-E380-8B0FBF773815}"/>
              </a:ext>
            </a:extLst>
          </p:cNvPr>
          <p:cNvSpPr txBox="1">
            <a:spLocks/>
          </p:cNvSpPr>
          <p:nvPr/>
        </p:nvSpPr>
        <p:spPr>
          <a:xfrm>
            <a:off x="467544" y="1237217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引き続き、アプリの初期設定をしましょう</a:t>
            </a: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FD80386E-F7E3-A978-BFF8-BE6008AEEB5E}"/>
              </a:ext>
            </a:extLst>
          </p:cNvPr>
          <p:cNvSpPr txBox="1"/>
          <p:nvPr/>
        </p:nvSpPr>
        <p:spPr>
          <a:xfrm>
            <a:off x="754871" y="1808760"/>
            <a:ext cx="259228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0363" indent="-36036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❾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このキャラクターで歩き始める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66071952-269E-4708-8C2D-FA2E809A4427}"/>
              </a:ext>
            </a:extLst>
          </p:cNvPr>
          <p:cNvSpPr txBox="1"/>
          <p:nvPr/>
        </p:nvSpPr>
        <p:spPr>
          <a:xfrm>
            <a:off x="3402873" y="1670260"/>
            <a:ext cx="2340965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❿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アプリの説明が表示されるので、</a:t>
            </a:r>
            <a:r>
              <a:rPr lang="ja-JP" altLang="en-US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⓫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の画面になるまでスワイプする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5E9AAFF0-FC89-D19B-FAA3-529E735EA51E}"/>
              </a:ext>
            </a:extLst>
          </p:cNvPr>
          <p:cNvSpPr txBox="1"/>
          <p:nvPr/>
        </p:nvSpPr>
        <p:spPr>
          <a:xfrm>
            <a:off x="6069620" y="1824636"/>
            <a:ext cx="2160240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0363" indent="-36036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⓫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スタート！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pic>
        <p:nvPicPr>
          <p:cNvPr id="30" name="図 29" descr="テキスト&#10;&#10;自動的に生成された説明">
            <a:extLst>
              <a:ext uri="{FF2B5EF4-FFF2-40B4-BE49-F238E27FC236}">
                <a16:creationId xmlns:a16="http://schemas.microsoft.com/office/drawing/2014/main" id="{6981A1CA-E5C4-35C7-469C-712EBE0F68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6472" y="2863387"/>
            <a:ext cx="1688349" cy="344578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970DF764-5061-00D9-D6F2-5CABCE12C675}"/>
              </a:ext>
            </a:extLst>
          </p:cNvPr>
          <p:cNvSpPr>
            <a:spLocks/>
          </p:cNvSpPr>
          <p:nvPr/>
        </p:nvSpPr>
        <p:spPr>
          <a:xfrm>
            <a:off x="1446915" y="5830408"/>
            <a:ext cx="1280724" cy="326054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3B1F5EAF-9209-F61D-41FB-126C78A60FAF}"/>
              </a:ext>
            </a:extLst>
          </p:cNvPr>
          <p:cNvSpPr txBox="1"/>
          <p:nvPr/>
        </p:nvSpPr>
        <p:spPr>
          <a:xfrm>
            <a:off x="1192716" y="5314195"/>
            <a:ext cx="471360" cy="516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❾</a:t>
            </a:r>
            <a:endParaRPr lang="ja-JP" altLang="en-US" sz="2400" dirty="0"/>
          </a:p>
        </p:txBody>
      </p:sp>
      <p:pic>
        <p:nvPicPr>
          <p:cNvPr id="28" name="図 27">
            <a:extLst>
              <a:ext uri="{FF2B5EF4-FFF2-40B4-BE49-F238E27FC236}">
                <a16:creationId xmlns:a16="http://schemas.microsoft.com/office/drawing/2014/main" id="{F6002F3E-CE6A-C74B-EFFE-DB8E40D7D6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27825" y="2850022"/>
            <a:ext cx="1688349" cy="344578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5" name="矢印: 右 44">
            <a:extLst>
              <a:ext uri="{FF2B5EF4-FFF2-40B4-BE49-F238E27FC236}">
                <a16:creationId xmlns:a16="http://schemas.microsoft.com/office/drawing/2014/main" id="{94AA49B6-076F-3A56-1612-DA4E35C4D308}"/>
              </a:ext>
            </a:extLst>
          </p:cNvPr>
          <p:cNvSpPr/>
          <p:nvPr/>
        </p:nvSpPr>
        <p:spPr>
          <a:xfrm>
            <a:off x="4172787" y="4269156"/>
            <a:ext cx="801189" cy="524713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E0F7DA58-B1FB-7467-6F6B-C2340DE13A51}"/>
              </a:ext>
            </a:extLst>
          </p:cNvPr>
          <p:cNvSpPr txBox="1"/>
          <p:nvPr/>
        </p:nvSpPr>
        <p:spPr>
          <a:xfrm>
            <a:off x="3862896" y="4026099"/>
            <a:ext cx="469718" cy="5144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❿</a:t>
            </a:r>
            <a:endParaRPr lang="ja-JP" altLang="en-US" sz="2400" dirty="0"/>
          </a:p>
        </p:txBody>
      </p:sp>
      <p:sp>
        <p:nvSpPr>
          <p:cNvPr id="20" name="フローチャート: 結合子 19">
            <a:extLst>
              <a:ext uri="{FF2B5EF4-FFF2-40B4-BE49-F238E27FC236}">
                <a16:creationId xmlns:a16="http://schemas.microsoft.com/office/drawing/2014/main" id="{07F13433-5D07-160E-7A2D-90E31156D960}"/>
              </a:ext>
            </a:extLst>
          </p:cNvPr>
          <p:cNvSpPr/>
          <p:nvPr/>
        </p:nvSpPr>
        <p:spPr>
          <a:xfrm>
            <a:off x="6674431" y="5198360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4" name="図 13" descr="テキスト&#10;&#10;自動的に生成された説明">
            <a:extLst>
              <a:ext uri="{FF2B5EF4-FFF2-40B4-BE49-F238E27FC236}">
                <a16:creationId xmlns:a16="http://schemas.microsoft.com/office/drawing/2014/main" id="{D01A35C2-EEE4-3478-8483-0B0E4B9065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29057" y="2863387"/>
            <a:ext cx="1688350" cy="344578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E0E7C05F-B118-09E6-21CB-F3816AAABFF3}"/>
              </a:ext>
            </a:extLst>
          </p:cNvPr>
          <p:cNvSpPr>
            <a:spLocks/>
          </p:cNvSpPr>
          <p:nvPr/>
        </p:nvSpPr>
        <p:spPr>
          <a:xfrm>
            <a:off x="6572323" y="5807244"/>
            <a:ext cx="1417597" cy="27317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FFE94F74-5204-4131-CFA0-681E1FAFD1A7}"/>
              </a:ext>
            </a:extLst>
          </p:cNvPr>
          <p:cNvSpPr txBox="1"/>
          <p:nvPr/>
        </p:nvSpPr>
        <p:spPr>
          <a:xfrm>
            <a:off x="6020966" y="5537641"/>
            <a:ext cx="512721" cy="5855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8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⓫</a:t>
            </a:r>
            <a:endParaRPr lang="ja-JP" altLang="en-US" sz="2800" dirty="0"/>
          </a:p>
        </p:txBody>
      </p:sp>
    </p:spTree>
    <p:extLst>
      <p:ext uri="{BB962C8B-B14F-4D97-AF65-F5344CB8AC3E}">
        <p14:creationId xmlns:p14="http://schemas.microsoft.com/office/powerpoint/2010/main" val="33445695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5263877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利用設定</a:t>
            </a:r>
            <a:endParaRPr lang="ja-JP" altLang="en-US" sz="28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1" name="タイトル 1">
            <a:extLst>
              <a:ext uri="{FF2B5EF4-FFF2-40B4-BE49-F238E27FC236}">
                <a16:creationId xmlns:a16="http://schemas.microsoft.com/office/drawing/2014/main" id="{D592821F-EE96-6688-E380-8B0FBF773815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その他必要な初期設定をしましょう　</a:t>
            </a:r>
            <a:endParaRPr lang="ja-JP" altLang="en-US" sz="2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FD80386E-F7E3-A978-BFF8-BE6008AEEB5E}"/>
              </a:ext>
            </a:extLst>
          </p:cNvPr>
          <p:cNvSpPr txBox="1"/>
          <p:nvPr/>
        </p:nvSpPr>
        <p:spPr>
          <a:xfrm>
            <a:off x="3707904" y="1860830"/>
            <a:ext cx="205293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⓭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許可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66071952-269E-4708-8C2D-FA2E809A4427}"/>
              </a:ext>
            </a:extLst>
          </p:cNvPr>
          <p:cNvSpPr txBox="1"/>
          <p:nvPr/>
        </p:nvSpPr>
        <p:spPr>
          <a:xfrm>
            <a:off x="6156176" y="1860830"/>
            <a:ext cx="205293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⓮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OK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D254EFF6-1643-1A99-53D7-98122D6AEF51}"/>
              </a:ext>
            </a:extLst>
          </p:cNvPr>
          <p:cNvSpPr txBox="1"/>
          <p:nvPr/>
        </p:nvSpPr>
        <p:spPr>
          <a:xfrm>
            <a:off x="629562" y="1855955"/>
            <a:ext cx="273630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0363" indent="-36036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⓬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アプリの使用時のみ」か「今回のみ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26" name="フローチャート: 結合子 25">
            <a:extLst>
              <a:ext uri="{FF2B5EF4-FFF2-40B4-BE49-F238E27FC236}">
                <a16:creationId xmlns:a16="http://schemas.microsoft.com/office/drawing/2014/main" id="{D9DD67FA-7799-E865-D9C2-69050E6F3AFB}"/>
              </a:ext>
            </a:extLst>
          </p:cNvPr>
          <p:cNvSpPr/>
          <p:nvPr/>
        </p:nvSpPr>
        <p:spPr>
          <a:xfrm>
            <a:off x="7505678" y="3762397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7" name="フローチャート: 結合子 26">
            <a:extLst>
              <a:ext uri="{FF2B5EF4-FFF2-40B4-BE49-F238E27FC236}">
                <a16:creationId xmlns:a16="http://schemas.microsoft.com/office/drawing/2014/main" id="{D28F3E37-63D9-9DF0-B922-2AF227727407}"/>
              </a:ext>
            </a:extLst>
          </p:cNvPr>
          <p:cNvSpPr/>
          <p:nvPr/>
        </p:nvSpPr>
        <p:spPr>
          <a:xfrm>
            <a:off x="3840020" y="3527866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8" name="フローチャート: 結合子 27">
            <a:extLst>
              <a:ext uri="{FF2B5EF4-FFF2-40B4-BE49-F238E27FC236}">
                <a16:creationId xmlns:a16="http://schemas.microsoft.com/office/drawing/2014/main" id="{D2EB9AAC-E8A8-5C4D-874D-81738CE360F8}"/>
              </a:ext>
            </a:extLst>
          </p:cNvPr>
          <p:cNvSpPr/>
          <p:nvPr/>
        </p:nvSpPr>
        <p:spPr>
          <a:xfrm>
            <a:off x="1193737" y="3436488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2A5DA8CE-E126-4074-ACCF-4B7B973E2437}"/>
              </a:ext>
            </a:extLst>
          </p:cNvPr>
          <p:cNvGrpSpPr/>
          <p:nvPr/>
        </p:nvGrpSpPr>
        <p:grpSpPr>
          <a:xfrm>
            <a:off x="3643509" y="2765133"/>
            <a:ext cx="1827237" cy="3492520"/>
            <a:chOff x="3851854" y="2863387"/>
            <a:chExt cx="1488343" cy="3092444"/>
          </a:xfrm>
        </p:grpSpPr>
        <p:pic>
          <p:nvPicPr>
            <p:cNvPr id="22" name="図 21" descr="グラフィカル ユーザー インターフェイス&#10;&#10;自動的に生成された説明">
              <a:extLst>
                <a:ext uri="{FF2B5EF4-FFF2-40B4-BE49-F238E27FC236}">
                  <a16:creationId xmlns:a16="http://schemas.microsoft.com/office/drawing/2014/main" id="{0ED1C3FB-DB43-B784-AAC8-5C123D319EE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51854" y="2863387"/>
              <a:ext cx="1488343" cy="309244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49E718EB-DB0F-1472-7AF4-720687C70D83}"/>
                </a:ext>
              </a:extLst>
            </p:cNvPr>
            <p:cNvSpPr>
              <a:spLocks/>
            </p:cNvSpPr>
            <p:nvPr/>
          </p:nvSpPr>
          <p:spPr>
            <a:xfrm>
              <a:off x="4039440" y="4388308"/>
              <a:ext cx="1108624" cy="204046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0" name="テキスト ボックス 29">
              <a:extLst>
                <a:ext uri="{FF2B5EF4-FFF2-40B4-BE49-F238E27FC236}">
                  <a16:creationId xmlns:a16="http://schemas.microsoft.com/office/drawing/2014/main" id="{5D779B2D-3401-AAC7-4E39-4DE411BC205F}"/>
                </a:ext>
              </a:extLst>
            </p:cNvPr>
            <p:cNvSpPr txBox="1"/>
            <p:nvPr/>
          </p:nvSpPr>
          <p:spPr>
            <a:xfrm>
              <a:off x="3877594" y="3872325"/>
              <a:ext cx="432048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sz="2800" dirty="0">
                  <a:solidFill>
                    <a:srgbClr val="00965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⓭</a:t>
              </a:r>
            </a:p>
          </p:txBody>
        </p:sp>
      </p:grp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B010008D-EEA0-4195-B8AD-6838D7337705}"/>
              </a:ext>
            </a:extLst>
          </p:cNvPr>
          <p:cNvGrpSpPr/>
          <p:nvPr/>
        </p:nvGrpSpPr>
        <p:grpSpPr>
          <a:xfrm>
            <a:off x="6329478" y="2758546"/>
            <a:ext cx="1706519" cy="3499107"/>
            <a:chOff x="6444208" y="2863387"/>
            <a:chExt cx="1488343" cy="3092444"/>
          </a:xfrm>
        </p:grpSpPr>
        <p:pic>
          <p:nvPicPr>
            <p:cNvPr id="20" name="図 19" descr="テキスト&#10;&#10;自動的に生成された説明">
              <a:extLst>
                <a:ext uri="{FF2B5EF4-FFF2-40B4-BE49-F238E27FC236}">
                  <a16:creationId xmlns:a16="http://schemas.microsoft.com/office/drawing/2014/main" id="{9DCEF2A5-501E-AD9A-DBEC-5C03B6175A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444208" y="2863387"/>
              <a:ext cx="1488343" cy="309244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25" name="正方形/長方形 24">
              <a:extLst>
                <a:ext uri="{FF2B5EF4-FFF2-40B4-BE49-F238E27FC236}">
                  <a16:creationId xmlns:a16="http://schemas.microsoft.com/office/drawing/2014/main" id="{D6E85FA3-9277-1484-AC23-E941F759D889}"/>
                </a:ext>
              </a:extLst>
            </p:cNvPr>
            <p:cNvSpPr>
              <a:spLocks/>
            </p:cNvSpPr>
            <p:nvPr/>
          </p:nvSpPr>
          <p:spPr>
            <a:xfrm>
              <a:off x="7524328" y="4388308"/>
              <a:ext cx="361540" cy="152434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2" name="テキスト ボックス 31">
              <a:extLst>
                <a:ext uri="{FF2B5EF4-FFF2-40B4-BE49-F238E27FC236}">
                  <a16:creationId xmlns:a16="http://schemas.microsoft.com/office/drawing/2014/main" id="{0E4F3281-05DA-D06D-A803-1BCBEF9F89BA}"/>
                </a:ext>
              </a:extLst>
            </p:cNvPr>
            <p:cNvSpPr txBox="1"/>
            <p:nvPr/>
          </p:nvSpPr>
          <p:spPr>
            <a:xfrm>
              <a:off x="7124921" y="4231479"/>
              <a:ext cx="432048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sz="2800" b="1" kern="100" dirty="0">
                  <a:solidFill>
                    <a:srgbClr val="00965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Times New Roman" panose="02020603050405020304" pitchFamily="18" charset="0"/>
                </a:rPr>
                <a:t>⓮</a:t>
              </a:r>
              <a:endParaRPr lang="ja-JP" altLang="en-US" sz="2800" dirty="0"/>
            </a:p>
          </p:txBody>
        </p:sp>
      </p:grp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07E608A6-40DE-420E-8426-36E3C56ABFF3}"/>
              </a:ext>
            </a:extLst>
          </p:cNvPr>
          <p:cNvGrpSpPr/>
          <p:nvPr/>
        </p:nvGrpSpPr>
        <p:grpSpPr>
          <a:xfrm>
            <a:off x="1127093" y="2765133"/>
            <a:ext cx="1657684" cy="3445782"/>
            <a:chOff x="1258132" y="2863387"/>
            <a:chExt cx="1481911" cy="3079080"/>
          </a:xfrm>
        </p:grpSpPr>
        <p:pic>
          <p:nvPicPr>
            <p:cNvPr id="24" name="図 23" descr="グラフィカル ユーザー インターフェイス, テーブル&#10;&#10;中程度の精度で自動的に生成された説明">
              <a:extLst>
                <a:ext uri="{FF2B5EF4-FFF2-40B4-BE49-F238E27FC236}">
                  <a16:creationId xmlns:a16="http://schemas.microsoft.com/office/drawing/2014/main" id="{A270DD71-10D2-E199-9E26-E43B0CDEE1E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258132" y="2863387"/>
              <a:ext cx="1481911" cy="307908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0695057A-DE48-E297-3F45-A86353661B89}"/>
                </a:ext>
              </a:extLst>
            </p:cNvPr>
            <p:cNvSpPr>
              <a:spLocks/>
            </p:cNvSpPr>
            <p:nvPr/>
          </p:nvSpPr>
          <p:spPr>
            <a:xfrm>
              <a:off x="1403648" y="4255519"/>
              <a:ext cx="1188132" cy="469625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3" name="テキスト ボックス 32">
              <a:extLst>
                <a:ext uri="{FF2B5EF4-FFF2-40B4-BE49-F238E27FC236}">
                  <a16:creationId xmlns:a16="http://schemas.microsoft.com/office/drawing/2014/main" id="{C7C5AA2B-CBB4-4188-26E2-C6FE87A5F3DE}"/>
                </a:ext>
              </a:extLst>
            </p:cNvPr>
            <p:cNvSpPr txBox="1"/>
            <p:nvPr/>
          </p:nvSpPr>
          <p:spPr>
            <a:xfrm>
              <a:off x="1427111" y="3732299"/>
              <a:ext cx="432048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sz="2800" dirty="0">
                  <a:solidFill>
                    <a:srgbClr val="00965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⓬</a:t>
              </a:r>
            </a:p>
          </p:txBody>
        </p:sp>
      </p:grp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5865B3A7-75E9-A7E8-B5ED-2E9D5A43A150}"/>
              </a:ext>
            </a:extLst>
          </p:cNvPr>
          <p:cNvSpPr txBox="1"/>
          <p:nvPr/>
        </p:nvSpPr>
        <p:spPr>
          <a:xfrm>
            <a:off x="1767718" y="914906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</p:spTree>
    <p:extLst>
      <p:ext uri="{BB962C8B-B14F-4D97-AF65-F5344CB8AC3E}">
        <p14:creationId xmlns:p14="http://schemas.microsoft.com/office/powerpoint/2010/main" val="17310754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 descr="ダイアグラム が含まれている画像&#10;&#10;自動的に生成された説明">
            <a:extLst>
              <a:ext uri="{FF2B5EF4-FFF2-40B4-BE49-F238E27FC236}">
                <a16:creationId xmlns:a16="http://schemas.microsoft.com/office/drawing/2014/main" id="{71A9BBC3-3DE3-C2A2-9D4F-8E53F26D45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5079" y="2788046"/>
            <a:ext cx="1658397" cy="344578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5263877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利用設定</a:t>
            </a:r>
            <a:endParaRPr lang="ja-JP" altLang="en-US" sz="28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1" name="タイトル 1">
            <a:extLst>
              <a:ext uri="{FF2B5EF4-FFF2-40B4-BE49-F238E27FC236}">
                <a16:creationId xmlns:a16="http://schemas.microsoft.com/office/drawing/2014/main" id="{D592821F-EE96-6688-E380-8B0FBF773815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その他必要な初期設定をしましょう　</a:t>
            </a:r>
            <a:endParaRPr lang="ja-JP" altLang="en-US" sz="2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FD80386E-F7E3-A978-BFF8-BE6008AEEB5E}"/>
              </a:ext>
            </a:extLst>
          </p:cNvPr>
          <p:cNvSpPr txBox="1"/>
          <p:nvPr/>
        </p:nvSpPr>
        <p:spPr>
          <a:xfrm>
            <a:off x="3671195" y="1965387"/>
            <a:ext cx="205293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⓰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許可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66071952-269E-4708-8C2D-FA2E809A4427}"/>
              </a:ext>
            </a:extLst>
          </p:cNvPr>
          <p:cNvSpPr txBox="1"/>
          <p:nvPr/>
        </p:nvSpPr>
        <p:spPr>
          <a:xfrm>
            <a:off x="5989626" y="1836846"/>
            <a:ext cx="2376264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⓱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ホーム画面が表示されれば完了で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D254EFF6-1643-1A99-53D7-98122D6AEF51}"/>
              </a:ext>
            </a:extLst>
          </p:cNvPr>
          <p:cNvSpPr txBox="1"/>
          <p:nvPr/>
        </p:nvSpPr>
        <p:spPr>
          <a:xfrm>
            <a:off x="866813" y="1978235"/>
            <a:ext cx="226754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⓯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アカウントを選択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pic>
        <p:nvPicPr>
          <p:cNvPr id="14" name="図 13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3A90560D-095B-3BE8-AC1A-000D12E8547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Glass/>
                    </a14:imgEffect>
                  </a14:imgLayer>
                </a14:imgProps>
              </a:ext>
            </a:extLst>
          </a:blip>
          <a:srcRect t="46161" b="46823"/>
          <a:stretch/>
        </p:blipFill>
        <p:spPr>
          <a:xfrm>
            <a:off x="1200503" y="4294915"/>
            <a:ext cx="1481911" cy="216024"/>
          </a:xfrm>
          <a:prstGeom prst="rect">
            <a:avLst/>
          </a:prstGeom>
          <a:ln>
            <a:noFill/>
          </a:ln>
        </p:spPr>
      </p:pic>
      <p:pic>
        <p:nvPicPr>
          <p:cNvPr id="16" name="図 15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BB3F91E0-69B9-4CDE-209B-984F31E5714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ass/>
                    </a14:imgEffect>
                  </a14:imgLayer>
                </a14:imgProps>
              </a:ext>
            </a:extLst>
          </a:blip>
          <a:srcRect t="29790" b="65532"/>
          <a:stretch/>
        </p:blipFill>
        <p:spPr>
          <a:xfrm>
            <a:off x="3799234" y="3789040"/>
            <a:ext cx="1481910" cy="144016"/>
          </a:xfrm>
          <a:prstGeom prst="rect">
            <a:avLst/>
          </a:prstGeom>
          <a:ln>
            <a:noFill/>
          </a:ln>
        </p:spPr>
      </p:pic>
      <p:pic>
        <p:nvPicPr>
          <p:cNvPr id="10" name="図 9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469EA791-FC0B-1FE7-11CC-FC917DD50CD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00503" y="2788047"/>
            <a:ext cx="1759623" cy="344578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0695057A-DE48-E297-3F45-A86353661B89}"/>
              </a:ext>
            </a:extLst>
          </p:cNvPr>
          <p:cNvSpPr>
            <a:spLocks/>
          </p:cNvSpPr>
          <p:nvPr/>
        </p:nvSpPr>
        <p:spPr>
          <a:xfrm>
            <a:off x="1200503" y="4347773"/>
            <a:ext cx="1759624" cy="326328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38AB738F-5EE5-2F29-118E-86EFA74AE673}"/>
              </a:ext>
            </a:extLst>
          </p:cNvPr>
          <p:cNvSpPr txBox="1"/>
          <p:nvPr/>
        </p:nvSpPr>
        <p:spPr>
          <a:xfrm>
            <a:off x="1200503" y="3817219"/>
            <a:ext cx="513014" cy="5855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8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⓯</a:t>
            </a:r>
            <a:endParaRPr lang="ja-JP" altLang="en-US" sz="2800" dirty="0"/>
          </a:p>
        </p:txBody>
      </p:sp>
      <p:sp>
        <p:nvSpPr>
          <p:cNvPr id="20" name="フローチャート: 結合子 19">
            <a:extLst>
              <a:ext uri="{FF2B5EF4-FFF2-40B4-BE49-F238E27FC236}">
                <a16:creationId xmlns:a16="http://schemas.microsoft.com/office/drawing/2014/main" id="{5B414DB7-52B3-007E-A293-EB5AEC96B8E2}"/>
              </a:ext>
            </a:extLst>
          </p:cNvPr>
          <p:cNvSpPr/>
          <p:nvPr/>
        </p:nvSpPr>
        <p:spPr>
          <a:xfrm>
            <a:off x="4446669" y="4967845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B7F234BE-121F-4ECF-84D1-43B7CA927223}"/>
              </a:ext>
            </a:extLst>
          </p:cNvPr>
          <p:cNvGrpSpPr/>
          <p:nvPr/>
        </p:nvGrpSpPr>
        <p:grpSpPr>
          <a:xfrm>
            <a:off x="3689351" y="2788048"/>
            <a:ext cx="1759624" cy="3445781"/>
            <a:chOff x="3854494" y="2863388"/>
            <a:chExt cx="1481910" cy="3079080"/>
          </a:xfrm>
        </p:grpSpPr>
        <p:pic>
          <p:nvPicPr>
            <p:cNvPr id="8" name="図 7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955BB22D-E131-7088-B2B4-00F6DC8F04B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854494" y="2863388"/>
              <a:ext cx="1481910" cy="307908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5" name="正方形/長方形 14">
              <a:extLst>
                <a:ext uri="{FF2B5EF4-FFF2-40B4-BE49-F238E27FC236}">
                  <a16:creationId xmlns:a16="http://schemas.microsoft.com/office/drawing/2014/main" id="{E9F18A6D-932E-38BC-F366-0D1FDF0F254A}"/>
                </a:ext>
              </a:extLst>
            </p:cNvPr>
            <p:cNvSpPr>
              <a:spLocks/>
            </p:cNvSpPr>
            <p:nvPr/>
          </p:nvSpPr>
          <p:spPr>
            <a:xfrm>
              <a:off x="4572001" y="5301208"/>
              <a:ext cx="648072" cy="144016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1" name="テキスト ボックス 20">
              <a:extLst>
                <a:ext uri="{FF2B5EF4-FFF2-40B4-BE49-F238E27FC236}">
                  <a16:creationId xmlns:a16="http://schemas.microsoft.com/office/drawing/2014/main" id="{3A66A615-2A7D-8869-3946-9EC4E830F932}"/>
                </a:ext>
              </a:extLst>
            </p:cNvPr>
            <p:cNvSpPr txBox="1"/>
            <p:nvPr/>
          </p:nvSpPr>
          <p:spPr>
            <a:xfrm>
              <a:off x="4355977" y="4858708"/>
              <a:ext cx="432048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sz="2800" b="1" kern="100" dirty="0">
                  <a:solidFill>
                    <a:srgbClr val="00965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Times New Roman" panose="02020603050405020304" pitchFamily="18" charset="0"/>
                </a:rPr>
                <a:t>⓰</a:t>
              </a:r>
              <a:endParaRPr lang="ja-JP" altLang="en-US" sz="2800" dirty="0"/>
            </a:p>
          </p:txBody>
        </p:sp>
      </p:grp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83517B46-C69E-84AE-8042-F68F3DEB5AEF}"/>
              </a:ext>
            </a:extLst>
          </p:cNvPr>
          <p:cNvSpPr txBox="1"/>
          <p:nvPr/>
        </p:nvSpPr>
        <p:spPr>
          <a:xfrm>
            <a:off x="1767718" y="914906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18DB6A6D-B632-C8E1-657C-D370E9FF6F3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42905" y="3834784"/>
            <a:ext cx="1046029" cy="144016"/>
          </a:xfrm>
          <a:prstGeom prst="rect">
            <a:avLst/>
          </a:prstGeom>
        </p:spPr>
      </p:pic>
      <p:pic>
        <p:nvPicPr>
          <p:cNvPr id="18" name="図 17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F2B55F63-2F05-DF05-7C52-EF9AD1E5D3F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Glass/>
                    </a14:imgEffect>
                  </a14:imgLayer>
                </a14:imgProps>
              </a:ext>
            </a:extLst>
          </a:blip>
          <a:srcRect l="7891" t="45265" r="12050" b="48465"/>
          <a:stretch/>
        </p:blipFill>
        <p:spPr>
          <a:xfrm>
            <a:off x="1344519" y="4402752"/>
            <a:ext cx="1408728" cy="161045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022442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フローチャート: 結合子 55">
            <a:extLst>
              <a:ext uri="{FF2B5EF4-FFF2-40B4-BE49-F238E27FC236}">
                <a16:creationId xmlns:a16="http://schemas.microsoft.com/office/drawing/2014/main" id="{2A1AA120-4C0D-2A0B-70AC-B1A3F0A3960C}"/>
              </a:ext>
            </a:extLst>
          </p:cNvPr>
          <p:cNvSpPr/>
          <p:nvPr/>
        </p:nvSpPr>
        <p:spPr>
          <a:xfrm>
            <a:off x="2667502" y="4417671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7" name="フローチャート: 結合子 56">
            <a:extLst>
              <a:ext uri="{FF2B5EF4-FFF2-40B4-BE49-F238E27FC236}">
                <a16:creationId xmlns:a16="http://schemas.microsoft.com/office/drawing/2014/main" id="{EBEC3E81-F14C-A780-508E-C0B6FDA7D569}"/>
              </a:ext>
            </a:extLst>
          </p:cNvPr>
          <p:cNvSpPr/>
          <p:nvPr/>
        </p:nvSpPr>
        <p:spPr>
          <a:xfrm>
            <a:off x="733613" y="3813172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6" name="図 5" descr="ダイアグラム が含まれている画像&#10;&#10;自動的に生成された説明">
            <a:extLst>
              <a:ext uri="{FF2B5EF4-FFF2-40B4-BE49-F238E27FC236}">
                <a16:creationId xmlns:a16="http://schemas.microsoft.com/office/drawing/2014/main" id="{635D1925-6858-FE39-5F10-1156A3EB4C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0044" y="2863384"/>
            <a:ext cx="1594700" cy="345133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9" name="矢印: 右 48">
            <a:extLst>
              <a:ext uri="{FF2B5EF4-FFF2-40B4-BE49-F238E27FC236}">
                <a16:creationId xmlns:a16="http://schemas.microsoft.com/office/drawing/2014/main" id="{E03CAF8C-F8EC-3538-833B-16CC873DC8AB}"/>
              </a:ext>
            </a:extLst>
          </p:cNvPr>
          <p:cNvSpPr/>
          <p:nvPr/>
        </p:nvSpPr>
        <p:spPr>
          <a:xfrm>
            <a:off x="3108990" y="4137000"/>
            <a:ext cx="678058" cy="470908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5263877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利用設定</a:t>
            </a:r>
            <a:endParaRPr lang="ja-JP" altLang="en-US" sz="28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1" name="タイトル 1">
            <a:extLst>
              <a:ext uri="{FF2B5EF4-FFF2-40B4-BE49-F238E27FC236}">
                <a16:creationId xmlns:a16="http://schemas.microsoft.com/office/drawing/2014/main" id="{D592821F-EE96-6688-E380-8B0FBF773815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その他必要な初期設定をしましょう</a:t>
            </a:r>
            <a:endParaRPr lang="ja-JP" altLang="en-US" sz="2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FD80386E-F7E3-A978-BFF8-BE6008AEEB5E}"/>
              </a:ext>
            </a:extLst>
          </p:cNvPr>
          <p:cNvSpPr txBox="1"/>
          <p:nvPr/>
        </p:nvSpPr>
        <p:spPr>
          <a:xfrm>
            <a:off x="2551434" y="1737486"/>
            <a:ext cx="216024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⓭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1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度だけ許可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もしくは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App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の使用中は許可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66071952-269E-4708-8C2D-FA2E809A4427}"/>
              </a:ext>
            </a:extLst>
          </p:cNvPr>
          <p:cNvSpPr txBox="1"/>
          <p:nvPr/>
        </p:nvSpPr>
        <p:spPr>
          <a:xfrm>
            <a:off x="4553645" y="1878504"/>
            <a:ext cx="205293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⓮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OK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5E9AAFF0-FC89-D19B-FAA3-529E735EA51E}"/>
              </a:ext>
            </a:extLst>
          </p:cNvPr>
          <p:cNvSpPr txBox="1"/>
          <p:nvPr/>
        </p:nvSpPr>
        <p:spPr>
          <a:xfrm>
            <a:off x="6588224" y="1717140"/>
            <a:ext cx="216024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⓯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ホーム画面が表示されれば完了で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D254EFF6-1643-1A99-53D7-98122D6AEF51}"/>
              </a:ext>
            </a:extLst>
          </p:cNvPr>
          <p:cNvSpPr txBox="1"/>
          <p:nvPr/>
        </p:nvSpPr>
        <p:spPr>
          <a:xfrm>
            <a:off x="314847" y="1878504"/>
            <a:ext cx="2428925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⓬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許可しない」か「許可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1" name="フローチャート: 結合子 50">
            <a:extLst>
              <a:ext uri="{FF2B5EF4-FFF2-40B4-BE49-F238E27FC236}">
                <a16:creationId xmlns:a16="http://schemas.microsoft.com/office/drawing/2014/main" id="{4E97A362-D030-ADAA-880E-A8B4FFD70F1E}"/>
              </a:ext>
            </a:extLst>
          </p:cNvPr>
          <p:cNvSpPr/>
          <p:nvPr/>
        </p:nvSpPr>
        <p:spPr>
          <a:xfrm>
            <a:off x="4779125" y="3851250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0" name="図 9" descr="グラフィカル ユーザー インターフェイス が含まれている画像&#10;&#10;自動的に生成された説明">
            <a:extLst>
              <a:ext uri="{FF2B5EF4-FFF2-40B4-BE49-F238E27FC236}">
                <a16:creationId xmlns:a16="http://schemas.microsoft.com/office/drawing/2014/main" id="{A97CD095-8720-9F25-4B53-53453BDBAF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30155" y="2863385"/>
            <a:ext cx="1590514" cy="342861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970DF764-5061-00D9-D6F2-5CABCE12C675}"/>
              </a:ext>
            </a:extLst>
          </p:cNvPr>
          <p:cNvSpPr>
            <a:spLocks/>
          </p:cNvSpPr>
          <p:nvPr/>
        </p:nvSpPr>
        <p:spPr>
          <a:xfrm>
            <a:off x="2914768" y="4939873"/>
            <a:ext cx="1209497" cy="32523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13FD15B5-26A0-3407-48F2-5A6B25C582B4}"/>
              </a:ext>
            </a:extLst>
          </p:cNvPr>
          <p:cNvSpPr txBox="1"/>
          <p:nvPr/>
        </p:nvSpPr>
        <p:spPr>
          <a:xfrm>
            <a:off x="2915816" y="4581128"/>
            <a:ext cx="483799" cy="5835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8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⓭</a:t>
            </a:r>
          </a:p>
        </p:txBody>
      </p:sp>
      <p:pic>
        <p:nvPicPr>
          <p:cNvPr id="8" name="図 7" descr="テキスト&#10;&#10;自動的に生成された説明">
            <a:extLst>
              <a:ext uri="{FF2B5EF4-FFF2-40B4-BE49-F238E27FC236}">
                <a16:creationId xmlns:a16="http://schemas.microsoft.com/office/drawing/2014/main" id="{3AD4F468-275C-B3D6-AECD-83C9FB2B83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85638" y="2863387"/>
            <a:ext cx="1640553" cy="343817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E9683500-9CF1-29CD-7B71-0E8D31EDAB3F}"/>
              </a:ext>
            </a:extLst>
          </p:cNvPr>
          <p:cNvSpPr>
            <a:spLocks/>
          </p:cNvSpPr>
          <p:nvPr/>
        </p:nvSpPr>
        <p:spPr>
          <a:xfrm>
            <a:off x="5564169" y="4792753"/>
            <a:ext cx="593295" cy="26698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F5BF1706-0A20-2BF6-13E3-FBB4021415D2}"/>
              </a:ext>
            </a:extLst>
          </p:cNvPr>
          <p:cNvSpPr txBox="1"/>
          <p:nvPr/>
        </p:nvSpPr>
        <p:spPr>
          <a:xfrm>
            <a:off x="5065148" y="3862157"/>
            <a:ext cx="499020" cy="5851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8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⓮</a:t>
            </a:r>
            <a:endParaRPr lang="ja-JP" altLang="en-US" sz="2800" dirty="0"/>
          </a:p>
        </p:txBody>
      </p:sp>
      <p:pic>
        <p:nvPicPr>
          <p:cNvPr id="36" name="図 35" descr="テキスト&#10;&#10;自動的に生成された説明">
            <a:extLst>
              <a:ext uri="{FF2B5EF4-FFF2-40B4-BE49-F238E27FC236}">
                <a16:creationId xmlns:a16="http://schemas.microsoft.com/office/drawing/2014/main" id="{A2E11C4A-95E2-D570-E2DD-DF5E91B804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9552" y="2853824"/>
            <a:ext cx="1725634" cy="343817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4" name="正方形/長方形 43">
            <a:extLst>
              <a:ext uri="{FF2B5EF4-FFF2-40B4-BE49-F238E27FC236}">
                <a16:creationId xmlns:a16="http://schemas.microsoft.com/office/drawing/2014/main" id="{44266ECD-2E93-210A-903E-F021FB362A88}"/>
              </a:ext>
            </a:extLst>
          </p:cNvPr>
          <p:cNvSpPr>
            <a:spLocks/>
          </p:cNvSpPr>
          <p:nvPr/>
        </p:nvSpPr>
        <p:spPr>
          <a:xfrm>
            <a:off x="829570" y="4729677"/>
            <a:ext cx="1167204" cy="223755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5" name="テキスト ボックス 54">
            <a:extLst>
              <a:ext uri="{FF2B5EF4-FFF2-40B4-BE49-F238E27FC236}">
                <a16:creationId xmlns:a16="http://schemas.microsoft.com/office/drawing/2014/main" id="{4140977C-3812-A132-5055-49159A08AB1A}"/>
              </a:ext>
            </a:extLst>
          </p:cNvPr>
          <p:cNvSpPr txBox="1"/>
          <p:nvPr/>
        </p:nvSpPr>
        <p:spPr>
          <a:xfrm>
            <a:off x="670827" y="4365104"/>
            <a:ext cx="524899" cy="5851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8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⓬</a:t>
            </a: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06B9A95B-4E1E-9437-D57E-D389F32AF08A}"/>
              </a:ext>
            </a:extLst>
          </p:cNvPr>
          <p:cNvSpPr txBox="1"/>
          <p:nvPr/>
        </p:nvSpPr>
        <p:spPr>
          <a:xfrm>
            <a:off x="1767718" y="914906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</p:spTree>
    <p:extLst>
      <p:ext uri="{BB962C8B-B14F-4D97-AF65-F5344CB8AC3E}">
        <p14:creationId xmlns:p14="http://schemas.microsoft.com/office/powerpoint/2010/main" val="40078340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64448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3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4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4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を</a:t>
            </a:r>
            <a:endParaRPr lang="en-US" altLang="ja-JP" sz="4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4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活用してみ</a:t>
            </a:r>
            <a:r>
              <a:rPr lang="ja-JP" altLang="en-US" sz="4800" dirty="0">
                <a:solidFill>
                  <a:srgbClr val="009650"/>
                </a:solidFill>
              </a:rPr>
              <a:t>よう</a:t>
            </a:r>
          </a:p>
        </p:txBody>
      </p:sp>
    </p:spTree>
    <p:extLst>
      <p:ext uri="{BB962C8B-B14F-4D97-AF65-F5344CB8AC3E}">
        <p14:creationId xmlns:p14="http://schemas.microsoft.com/office/powerpoint/2010/main" val="9753131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直線コネクタ 1">
            <a:extLst>
              <a:ext uri="{FF2B5EF4-FFF2-40B4-BE49-F238E27FC236}">
                <a16:creationId xmlns:a16="http://schemas.microsoft.com/office/drawing/2014/main" id="{2AFA6782-3AA9-5F28-48E4-B580429BDF2E}"/>
              </a:ext>
            </a:extLst>
          </p:cNvPr>
          <p:cNvCxnSpPr>
            <a:cxnSpLocks/>
          </p:cNvCxnSpPr>
          <p:nvPr/>
        </p:nvCxnSpPr>
        <p:spPr>
          <a:xfrm>
            <a:off x="3347864" y="1268760"/>
            <a:ext cx="0" cy="5184576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2F8C6E06-C420-3666-9631-18555375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541997"/>
            <a:ext cx="2118365" cy="4479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A24C5C7-7F8B-6F54-33D7-30C9170BCC52}"/>
              </a:ext>
            </a:extLst>
          </p:cNvPr>
          <p:cNvSpPr txBox="1"/>
          <p:nvPr/>
        </p:nvSpPr>
        <p:spPr>
          <a:xfrm>
            <a:off x="3510136" y="1628800"/>
            <a:ext cx="516631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ja-JP" altLang="en-US" sz="20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どんどん歩いて好きなご当地キャラを</a:t>
            </a:r>
            <a:endParaRPr lang="en-US" altLang="ja-JP" sz="2000" b="1" i="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l" fontAlgn="base"/>
            <a:r>
              <a:rPr lang="ja-JP" altLang="en-US" sz="20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変身させよう！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8ADA6263-DDD6-B475-66A3-AB72A2372301}"/>
              </a:ext>
            </a:extLst>
          </p:cNvPr>
          <p:cNvSpPr txBox="1"/>
          <p:nvPr/>
        </p:nvSpPr>
        <p:spPr>
          <a:xfrm>
            <a:off x="3510137" y="2492896"/>
            <a:ext cx="516631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好きなご当地キャラを選んで歩くと、歩数にあわせてキャラクターが変身！</a:t>
            </a:r>
            <a:b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毎日たくさん歩いて、まだ見たことのない、</a:t>
            </a:r>
            <a:endParaRPr lang="en-US" altLang="ja-JP" b="0" i="0" dirty="0">
              <a:solidFill>
                <a:srgbClr val="333333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ここでしか見ることの出来ない</a:t>
            </a:r>
            <a:endParaRPr lang="en-US" altLang="ja-JP" b="0" i="0" dirty="0">
              <a:solidFill>
                <a:srgbClr val="333333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ご当地キャラの姿に出会ってみましょう。</a:t>
            </a:r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5CCEB1D7-F375-EA31-2944-619AA523D895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5519460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キャラクターを変身させよう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5154297-3B00-7DF2-9715-E77D75165AB9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pic>
        <p:nvPicPr>
          <p:cNvPr id="7" name="図 6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FB527AB4-D995-D5AE-D629-EE40263E5BA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0214" t="46291" r="16179" b="39528"/>
          <a:stretch/>
        </p:blipFill>
        <p:spPr>
          <a:xfrm>
            <a:off x="7419672" y="4510874"/>
            <a:ext cx="1161848" cy="151041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図 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491C8311-7E1D-FA36-F930-D06BBA20BD1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208" t="18608" r="61360" b="68488"/>
          <a:stretch/>
        </p:blipFill>
        <p:spPr>
          <a:xfrm>
            <a:off x="3482564" y="4725144"/>
            <a:ext cx="1164107" cy="151700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図 8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795DD1E-6102-055D-FE6D-4FB183ED373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862" t="32149" r="59532" b="53835"/>
          <a:stretch/>
        </p:blipFill>
        <p:spPr>
          <a:xfrm>
            <a:off x="6076555" y="4725144"/>
            <a:ext cx="1196511" cy="153744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図 11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BC7117D1-942E-A7D7-6B1E-D9CC7BDDC84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9489" t="17441" r="37422" b="68657"/>
          <a:stretch/>
        </p:blipFill>
        <p:spPr>
          <a:xfrm>
            <a:off x="4772821" y="4473993"/>
            <a:ext cx="1159046" cy="151041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2479994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B19A58FA-B91B-534F-4CE8-CA595FD43C7D}"/>
              </a:ext>
            </a:extLst>
          </p:cNvPr>
          <p:cNvSpPr txBox="1"/>
          <p:nvPr/>
        </p:nvSpPr>
        <p:spPr>
          <a:xfrm>
            <a:off x="314847" y="1878504"/>
            <a:ext cx="2428925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❶</a:t>
            </a:r>
            <a:r>
              <a:rPr lang="ja-JP" altLang="en-US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画面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左上の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265113" indent="-265113" algn="l"/>
            <a:r>
              <a:rPr lang="ja-JP" altLang="en-US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「　」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pic>
        <p:nvPicPr>
          <p:cNvPr id="12" name="図 11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D73D0953-5292-5472-A431-F9CDBBC1F9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7004" y="2863384"/>
            <a:ext cx="1639927" cy="342861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図 9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51AE2A55-12BE-D4AE-7B58-BE1B8439E6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3983" y="2863384"/>
            <a:ext cx="1639927" cy="342921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図 13" descr="ダイアグラム が含まれている画像&#10;&#10;自動的に生成された説明">
            <a:extLst>
              <a:ext uri="{FF2B5EF4-FFF2-40B4-BE49-F238E27FC236}">
                <a16:creationId xmlns:a16="http://schemas.microsoft.com/office/drawing/2014/main" id="{E3F9D7A2-3998-5530-BBFA-D5D0813517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1560" y="2853824"/>
            <a:ext cx="1618392" cy="344773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" name="図 23" descr="ダイアグラム&#10;&#10;自動的に生成された説明">
            <a:extLst>
              <a:ext uri="{FF2B5EF4-FFF2-40B4-BE49-F238E27FC236}">
                <a16:creationId xmlns:a16="http://schemas.microsoft.com/office/drawing/2014/main" id="{2753C7CA-8706-AD99-E575-C7EFD3A42A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80962" y="2863384"/>
            <a:ext cx="1584311" cy="342861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5519460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キャラクターを変身させよう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B1F34B69-02A9-FC05-AD2B-955A5658EE0B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キャラクターを変身</a:t>
            </a:r>
            <a:r>
              <a:rPr lang="ja-JP" altLang="en-US" sz="2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させよう</a:t>
            </a:r>
            <a:endParaRPr lang="ja-JP" altLang="en-US" sz="2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0740D15B-047D-3128-2714-013F2DE2530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4436" y="2262353"/>
            <a:ext cx="224593" cy="158536"/>
          </a:xfrm>
          <a:prstGeom prst="rect">
            <a:avLst/>
          </a:prstGeom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361D5028-E6BC-E301-686D-5BA0AA22FA97}"/>
              </a:ext>
            </a:extLst>
          </p:cNvPr>
          <p:cNvSpPr>
            <a:spLocks/>
          </p:cNvSpPr>
          <p:nvPr/>
        </p:nvSpPr>
        <p:spPr>
          <a:xfrm>
            <a:off x="611560" y="3003308"/>
            <a:ext cx="244391" cy="24056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7F5B5DF3-2D1B-FB1D-7F28-1280A1C6A0A2}"/>
              </a:ext>
            </a:extLst>
          </p:cNvPr>
          <p:cNvSpPr>
            <a:spLocks/>
          </p:cNvSpPr>
          <p:nvPr/>
        </p:nvSpPr>
        <p:spPr>
          <a:xfrm>
            <a:off x="6948264" y="5229200"/>
            <a:ext cx="1440160" cy="864096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FED29877-D76A-F42E-DF55-C5AE972B3A8C}"/>
              </a:ext>
            </a:extLst>
          </p:cNvPr>
          <p:cNvSpPr>
            <a:spLocks/>
          </p:cNvSpPr>
          <p:nvPr/>
        </p:nvSpPr>
        <p:spPr>
          <a:xfrm>
            <a:off x="3028664" y="3711975"/>
            <a:ext cx="966360" cy="246578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2EBC2BFC-5216-613A-8C52-638D916C690E}"/>
              </a:ext>
            </a:extLst>
          </p:cNvPr>
          <p:cNvSpPr txBox="1"/>
          <p:nvPr/>
        </p:nvSpPr>
        <p:spPr>
          <a:xfrm>
            <a:off x="2551434" y="1846565"/>
            <a:ext cx="2160241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❷</a:t>
            </a:r>
            <a:r>
              <a:rPr lang="ja-JP" altLang="en-US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キャラクター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図鑑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4D742201-80E0-F182-3CEE-50D2A75CFC52}"/>
              </a:ext>
            </a:extLst>
          </p:cNvPr>
          <p:cNvSpPr txBox="1"/>
          <p:nvPr/>
        </p:nvSpPr>
        <p:spPr>
          <a:xfrm>
            <a:off x="4553645" y="1878504"/>
            <a:ext cx="205293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❸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現在のキャラク　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ター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0F28BD82-6271-5773-FFE4-23964BA85378}"/>
              </a:ext>
            </a:extLst>
          </p:cNvPr>
          <p:cNvSpPr txBox="1"/>
          <p:nvPr/>
        </p:nvSpPr>
        <p:spPr>
          <a:xfrm>
            <a:off x="6698196" y="1815788"/>
            <a:ext cx="2160240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❹</a:t>
            </a:r>
            <a:r>
              <a:rPr lang="ja-JP" altLang="en-US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赤枠内の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好きな姿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grpSp>
        <p:nvGrpSpPr>
          <p:cNvPr id="3" name="図形グループ 30">
            <a:extLst>
              <a:ext uri="{FF2B5EF4-FFF2-40B4-BE49-F238E27FC236}">
                <a16:creationId xmlns:a16="http://schemas.microsoft.com/office/drawing/2014/main" id="{6578F059-D7A0-365E-8454-2F680C08BD8A}"/>
              </a:ext>
            </a:extLst>
          </p:cNvPr>
          <p:cNvGrpSpPr/>
          <p:nvPr/>
        </p:nvGrpSpPr>
        <p:grpSpPr>
          <a:xfrm>
            <a:off x="376043" y="2701217"/>
            <a:ext cx="349922" cy="324333"/>
            <a:chOff x="2897417" y="3995693"/>
            <a:chExt cx="296587" cy="293005"/>
          </a:xfrm>
        </p:grpSpPr>
        <p:sp>
          <p:nvSpPr>
            <p:cNvPr id="5" name="円/楕円 35">
              <a:extLst>
                <a:ext uri="{FF2B5EF4-FFF2-40B4-BE49-F238E27FC236}">
                  <a16:creationId xmlns:a16="http://schemas.microsoft.com/office/drawing/2014/main" id="{6709828A-8EE4-75B7-B423-750D941BF59C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6" name="テキスト ボックス 5">
              <a:extLst>
                <a:ext uri="{FF2B5EF4-FFF2-40B4-BE49-F238E27FC236}">
                  <a16:creationId xmlns:a16="http://schemas.microsoft.com/office/drawing/2014/main" id="{854CAB54-2673-A6C0-64E6-63A4760B3BD7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endParaRPr>
            </a:p>
          </p:txBody>
        </p:sp>
      </p:grpSp>
      <p:grpSp>
        <p:nvGrpSpPr>
          <p:cNvPr id="7" name="図形グループ 52">
            <a:extLst>
              <a:ext uri="{FF2B5EF4-FFF2-40B4-BE49-F238E27FC236}">
                <a16:creationId xmlns:a16="http://schemas.microsoft.com/office/drawing/2014/main" id="{A67D0360-CEAD-FC54-FBBA-EC9010C904DF}"/>
              </a:ext>
            </a:extLst>
          </p:cNvPr>
          <p:cNvGrpSpPr/>
          <p:nvPr/>
        </p:nvGrpSpPr>
        <p:grpSpPr>
          <a:xfrm>
            <a:off x="6785496" y="4880391"/>
            <a:ext cx="325536" cy="324509"/>
            <a:chOff x="5101121" y="3995693"/>
            <a:chExt cx="296586" cy="293005"/>
          </a:xfrm>
        </p:grpSpPr>
        <p:sp>
          <p:nvSpPr>
            <p:cNvPr id="9" name="円/楕円 53">
              <a:extLst>
                <a:ext uri="{FF2B5EF4-FFF2-40B4-BE49-F238E27FC236}">
                  <a16:creationId xmlns:a16="http://schemas.microsoft.com/office/drawing/2014/main" id="{B7EB4AAD-26D3-9F4B-2C9E-45A16DB281CD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17" name="フリーフォーム 54">
              <a:extLst>
                <a:ext uri="{FF2B5EF4-FFF2-40B4-BE49-F238E27FC236}">
                  <a16:creationId xmlns:a16="http://schemas.microsoft.com/office/drawing/2014/main" id="{542D7840-F083-4129-80F5-644F438EAA92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pSp>
        <p:nvGrpSpPr>
          <p:cNvPr id="18" name="図形グループ 23">
            <a:extLst>
              <a:ext uri="{FF2B5EF4-FFF2-40B4-BE49-F238E27FC236}">
                <a16:creationId xmlns:a16="http://schemas.microsoft.com/office/drawing/2014/main" id="{87F57AD5-026A-B955-A59E-C2813DC79D54}"/>
              </a:ext>
            </a:extLst>
          </p:cNvPr>
          <p:cNvGrpSpPr/>
          <p:nvPr/>
        </p:nvGrpSpPr>
        <p:grpSpPr>
          <a:xfrm>
            <a:off x="2681305" y="3408536"/>
            <a:ext cx="346662" cy="324928"/>
            <a:chOff x="3546641" y="3995693"/>
            <a:chExt cx="296586" cy="293005"/>
          </a:xfrm>
        </p:grpSpPr>
        <p:sp>
          <p:nvSpPr>
            <p:cNvPr id="19" name="円/楕円 28">
              <a:extLst>
                <a:ext uri="{FF2B5EF4-FFF2-40B4-BE49-F238E27FC236}">
                  <a16:creationId xmlns:a16="http://schemas.microsoft.com/office/drawing/2014/main" id="{C7C4F5A9-6004-1EE9-6A96-4FF100AE7442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20" name="フリーフォーム 29">
              <a:extLst>
                <a:ext uri="{FF2B5EF4-FFF2-40B4-BE49-F238E27FC236}">
                  <a16:creationId xmlns:a16="http://schemas.microsoft.com/office/drawing/2014/main" id="{B3287751-CCBE-93B5-85F4-B2C535E40830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pSp>
        <p:nvGrpSpPr>
          <p:cNvPr id="21" name="図形グループ 55">
            <a:extLst>
              <a:ext uri="{FF2B5EF4-FFF2-40B4-BE49-F238E27FC236}">
                <a16:creationId xmlns:a16="http://schemas.microsoft.com/office/drawing/2014/main" id="{39DDF0D9-E379-7749-4BED-4844620D8996}"/>
              </a:ext>
            </a:extLst>
          </p:cNvPr>
          <p:cNvGrpSpPr/>
          <p:nvPr/>
        </p:nvGrpSpPr>
        <p:grpSpPr>
          <a:xfrm>
            <a:off x="4579045" y="3103656"/>
            <a:ext cx="352995" cy="325344"/>
            <a:chOff x="4232441" y="3995693"/>
            <a:chExt cx="296586" cy="293005"/>
          </a:xfrm>
        </p:grpSpPr>
        <p:sp>
          <p:nvSpPr>
            <p:cNvPr id="22" name="円/楕円 56">
              <a:extLst>
                <a:ext uri="{FF2B5EF4-FFF2-40B4-BE49-F238E27FC236}">
                  <a16:creationId xmlns:a16="http://schemas.microsoft.com/office/drawing/2014/main" id="{725112EF-2FC0-6AC3-1D46-4A00220E5E29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23" name="フリーフォーム 57">
              <a:extLst>
                <a:ext uri="{FF2B5EF4-FFF2-40B4-BE49-F238E27FC236}">
                  <a16:creationId xmlns:a16="http://schemas.microsoft.com/office/drawing/2014/main" id="{4CC8D273-7096-BFB2-E3E5-E97E9EA5CFB2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D631CE41-D7A7-425F-ADFD-BAE5196366BC}"/>
              </a:ext>
            </a:extLst>
          </p:cNvPr>
          <p:cNvSpPr>
            <a:spLocks/>
          </p:cNvSpPr>
          <p:nvPr/>
        </p:nvSpPr>
        <p:spPr>
          <a:xfrm>
            <a:off x="4842997" y="3429000"/>
            <a:ext cx="521091" cy="64807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2187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/>
              <a:t>キャラクター</a:t>
            </a:r>
            <a:r>
              <a:rPr lang="ja-JP" altLang="en-US" dirty="0"/>
              <a:t>を</a:t>
            </a:r>
            <a:r>
              <a:rPr lang="ja-JP" altLang="en-US"/>
              <a:t>変更しよう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EE032BDE-C972-A0AD-6690-42BF36B6F716}"/>
              </a:ext>
            </a:extLst>
          </p:cNvPr>
          <p:cNvSpPr txBox="1"/>
          <p:nvPr/>
        </p:nvSpPr>
        <p:spPr>
          <a:xfrm>
            <a:off x="683568" y="1855887"/>
            <a:ext cx="224026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❶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画面左上の「　　」を押す</a:t>
            </a:r>
            <a:endParaRPr lang="ja-JP" altLang="ja-JP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CF2E2D86-A4A6-47D0-6FB5-4EEE7543C785}"/>
              </a:ext>
            </a:extLst>
          </p:cNvPr>
          <p:cNvSpPr txBox="1"/>
          <p:nvPr/>
        </p:nvSpPr>
        <p:spPr>
          <a:xfrm>
            <a:off x="3539199" y="1876242"/>
            <a:ext cx="205293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0363" indent="-36036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❷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キャラクター図鑑」を押す</a:t>
            </a:r>
            <a:endParaRPr lang="en-US" altLang="ja-JP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3C8D5B35-060E-9140-01DB-BC49DA50FC3E}"/>
              </a:ext>
            </a:extLst>
          </p:cNvPr>
          <p:cNvSpPr txBox="1"/>
          <p:nvPr/>
        </p:nvSpPr>
        <p:spPr>
          <a:xfrm>
            <a:off x="6400773" y="1876242"/>
            <a:ext cx="2060948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❸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好きなキャラクター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B1F34B69-02A9-FC05-AD2B-955A5658EE0B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キャラクターを</a:t>
            </a:r>
            <a:r>
              <a:rPr lang="ja-JP" altLang="en-US" sz="2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変更しよう</a:t>
            </a:r>
            <a:endParaRPr lang="ja-JP" altLang="en-US" sz="2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0740D15B-047D-3128-2714-013F2DE253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8781" y="2207141"/>
            <a:ext cx="320801" cy="226447"/>
          </a:xfrm>
          <a:prstGeom prst="rect">
            <a:avLst/>
          </a:prstGeom>
        </p:spPr>
      </p:pic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7603D18A-F5C8-4C83-B603-5A8AB6DC4337}"/>
              </a:ext>
            </a:extLst>
          </p:cNvPr>
          <p:cNvGrpSpPr/>
          <p:nvPr/>
        </p:nvGrpSpPr>
        <p:grpSpPr>
          <a:xfrm>
            <a:off x="788947" y="2602370"/>
            <a:ext cx="1656184" cy="3528242"/>
            <a:chOff x="899592" y="2780927"/>
            <a:chExt cx="1463948" cy="3168352"/>
          </a:xfrm>
        </p:grpSpPr>
        <p:pic>
          <p:nvPicPr>
            <p:cNvPr id="14" name="図 13" descr="ダイアグラム が含まれている画像&#10;&#10;自動的に生成された説明">
              <a:extLst>
                <a:ext uri="{FF2B5EF4-FFF2-40B4-BE49-F238E27FC236}">
                  <a16:creationId xmlns:a16="http://schemas.microsoft.com/office/drawing/2014/main" id="{E3F9D7A2-3998-5530-BBFA-D5D081351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9592" y="2780927"/>
              <a:ext cx="1463948" cy="3168352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361D5028-E6BC-E301-686D-5BA0AA22FA97}"/>
                </a:ext>
              </a:extLst>
            </p:cNvPr>
            <p:cNvSpPr>
              <a:spLocks/>
            </p:cNvSpPr>
            <p:nvPr/>
          </p:nvSpPr>
          <p:spPr>
            <a:xfrm>
              <a:off x="899592" y="2924944"/>
              <a:ext cx="216024" cy="216024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D661E8AC-0B60-4FDB-A974-EA1050DAAA04}"/>
              </a:ext>
            </a:extLst>
          </p:cNvPr>
          <p:cNvGrpSpPr/>
          <p:nvPr/>
        </p:nvGrpSpPr>
        <p:grpSpPr>
          <a:xfrm>
            <a:off x="6551409" y="2602370"/>
            <a:ext cx="1729481" cy="3616480"/>
            <a:chOff x="6841920" y="2780926"/>
            <a:chExt cx="1463947" cy="3168350"/>
          </a:xfrm>
        </p:grpSpPr>
        <p:pic>
          <p:nvPicPr>
            <p:cNvPr id="10" name="図 9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51AE2A55-12BE-D4AE-7B58-BE1B8439E61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841920" y="2780926"/>
              <a:ext cx="1463947" cy="316835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5" name="正方形/長方形 14">
              <a:extLst>
                <a:ext uri="{FF2B5EF4-FFF2-40B4-BE49-F238E27FC236}">
                  <a16:creationId xmlns:a16="http://schemas.microsoft.com/office/drawing/2014/main" id="{7F5B5DF3-2D1B-FB1D-7F28-1280A1C6A0A2}"/>
                </a:ext>
              </a:extLst>
            </p:cNvPr>
            <p:cNvSpPr>
              <a:spLocks/>
            </p:cNvSpPr>
            <p:nvPr/>
          </p:nvSpPr>
          <p:spPr>
            <a:xfrm>
              <a:off x="7379370" y="3293368"/>
              <a:ext cx="373682" cy="56768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85693B78-B05D-41A9-9AAC-33323025C83B}"/>
              </a:ext>
            </a:extLst>
          </p:cNvPr>
          <p:cNvGrpSpPr/>
          <p:nvPr/>
        </p:nvGrpSpPr>
        <p:grpSpPr>
          <a:xfrm>
            <a:off x="3665941" y="2602370"/>
            <a:ext cx="1848224" cy="3616480"/>
            <a:chOff x="3870756" y="2780927"/>
            <a:chExt cx="1463948" cy="3168353"/>
          </a:xfrm>
        </p:grpSpPr>
        <p:pic>
          <p:nvPicPr>
            <p:cNvPr id="12" name="図 11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D73D0953-5292-5472-A431-F9CDBBC1F92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870756" y="2780927"/>
              <a:ext cx="1463948" cy="316835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6" name="正方形/長方形 15">
              <a:extLst>
                <a:ext uri="{FF2B5EF4-FFF2-40B4-BE49-F238E27FC236}">
                  <a16:creationId xmlns:a16="http://schemas.microsoft.com/office/drawing/2014/main" id="{FED29877-D76A-F42E-DF55-C5AE972B3A8C}"/>
                </a:ext>
              </a:extLst>
            </p:cNvPr>
            <p:cNvSpPr>
              <a:spLocks/>
            </p:cNvSpPr>
            <p:nvPr/>
          </p:nvSpPr>
          <p:spPr>
            <a:xfrm>
              <a:off x="4219560" y="3573016"/>
              <a:ext cx="765438" cy="216024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8" name="図形グループ 30">
            <a:extLst>
              <a:ext uri="{FF2B5EF4-FFF2-40B4-BE49-F238E27FC236}">
                <a16:creationId xmlns:a16="http://schemas.microsoft.com/office/drawing/2014/main" id="{2CF1BF4E-C3EB-E64D-3C10-A7A4F882CB1D}"/>
              </a:ext>
            </a:extLst>
          </p:cNvPr>
          <p:cNvGrpSpPr/>
          <p:nvPr/>
        </p:nvGrpSpPr>
        <p:grpSpPr>
          <a:xfrm>
            <a:off x="467544" y="2555526"/>
            <a:ext cx="349922" cy="324333"/>
            <a:chOff x="2897417" y="3995693"/>
            <a:chExt cx="296587" cy="293005"/>
          </a:xfrm>
        </p:grpSpPr>
        <p:sp>
          <p:nvSpPr>
            <p:cNvPr id="19" name="円/楕円 35">
              <a:extLst>
                <a:ext uri="{FF2B5EF4-FFF2-40B4-BE49-F238E27FC236}">
                  <a16:creationId xmlns:a16="http://schemas.microsoft.com/office/drawing/2014/main" id="{99D3DE27-C88F-7900-222E-4F6C8E8734C3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0" name="テキスト ボックス 19">
              <a:extLst>
                <a:ext uri="{FF2B5EF4-FFF2-40B4-BE49-F238E27FC236}">
                  <a16:creationId xmlns:a16="http://schemas.microsoft.com/office/drawing/2014/main" id="{8CCD7150-6285-6841-9011-98E41EE3B7D1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21" name="図形グループ 23">
            <a:extLst>
              <a:ext uri="{FF2B5EF4-FFF2-40B4-BE49-F238E27FC236}">
                <a16:creationId xmlns:a16="http://schemas.microsoft.com/office/drawing/2014/main" id="{195A8983-8D4E-B6BF-A89B-2EBB62D7EF17}"/>
              </a:ext>
            </a:extLst>
          </p:cNvPr>
          <p:cNvGrpSpPr/>
          <p:nvPr/>
        </p:nvGrpSpPr>
        <p:grpSpPr>
          <a:xfrm>
            <a:off x="3779912" y="3275606"/>
            <a:ext cx="346662" cy="324928"/>
            <a:chOff x="3546641" y="3995693"/>
            <a:chExt cx="296586" cy="293005"/>
          </a:xfrm>
        </p:grpSpPr>
        <p:sp>
          <p:nvSpPr>
            <p:cNvPr id="22" name="円/楕円 28">
              <a:extLst>
                <a:ext uri="{FF2B5EF4-FFF2-40B4-BE49-F238E27FC236}">
                  <a16:creationId xmlns:a16="http://schemas.microsoft.com/office/drawing/2014/main" id="{5EC3D1FC-5D9D-24DC-00E8-4EDE781F4377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23" name="フリーフォーム 29">
              <a:extLst>
                <a:ext uri="{FF2B5EF4-FFF2-40B4-BE49-F238E27FC236}">
                  <a16:creationId xmlns:a16="http://schemas.microsoft.com/office/drawing/2014/main" id="{3A1DB6CD-0CF8-50C6-91A9-7802D0EB31EA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4" name="図形グループ 55">
            <a:extLst>
              <a:ext uri="{FF2B5EF4-FFF2-40B4-BE49-F238E27FC236}">
                <a16:creationId xmlns:a16="http://schemas.microsoft.com/office/drawing/2014/main" id="{D08E4957-FFF8-47FF-0EF4-88E9CAB003AE}"/>
              </a:ext>
            </a:extLst>
          </p:cNvPr>
          <p:cNvGrpSpPr/>
          <p:nvPr/>
        </p:nvGrpSpPr>
        <p:grpSpPr>
          <a:xfrm>
            <a:off x="6883301" y="2987574"/>
            <a:ext cx="352995" cy="325344"/>
            <a:chOff x="4232441" y="3995693"/>
            <a:chExt cx="296586" cy="293005"/>
          </a:xfrm>
        </p:grpSpPr>
        <p:sp>
          <p:nvSpPr>
            <p:cNvPr id="25" name="円/楕円 56">
              <a:extLst>
                <a:ext uri="{FF2B5EF4-FFF2-40B4-BE49-F238E27FC236}">
                  <a16:creationId xmlns:a16="http://schemas.microsoft.com/office/drawing/2014/main" id="{88F887A1-F26B-F569-28F0-E1C3B4130557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6" name="フリーフォーム 57">
              <a:extLst>
                <a:ext uri="{FF2B5EF4-FFF2-40B4-BE49-F238E27FC236}">
                  <a16:creationId xmlns:a16="http://schemas.microsoft.com/office/drawing/2014/main" id="{653AE3A7-E43B-EF44-CE11-6AD68C2B5C1C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453641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 descr="グラフィカル ユーザー インターフェイス&#10;&#10;自動的に生成された説明">
            <a:extLst>
              <a:ext uri="{FF2B5EF4-FFF2-40B4-BE49-F238E27FC236}">
                <a16:creationId xmlns:a16="http://schemas.microsoft.com/office/drawing/2014/main" id="{8992A4E4-8A08-357C-0D78-60684FAC84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1931" y="2580907"/>
            <a:ext cx="1656184" cy="358439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キャラクターを</a:t>
            </a:r>
            <a:r>
              <a:rPr lang="ja-JP" altLang="en-US"/>
              <a:t>変更しよう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pic>
        <p:nvPicPr>
          <p:cNvPr id="3" name="図 2" descr="ダイアグラム&#10;&#10;低い精度で自動的に生成された説明">
            <a:extLst>
              <a:ext uri="{FF2B5EF4-FFF2-40B4-BE49-F238E27FC236}">
                <a16:creationId xmlns:a16="http://schemas.microsoft.com/office/drawing/2014/main" id="{F450A4E4-3DFF-8576-6B2C-0129F71A62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22577" y="2580519"/>
            <a:ext cx="1650429" cy="357194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68586C9D-E7FF-67C9-DA27-C52A596F62BC}"/>
              </a:ext>
            </a:extLst>
          </p:cNvPr>
          <p:cNvSpPr txBox="1"/>
          <p:nvPr/>
        </p:nvSpPr>
        <p:spPr>
          <a:xfrm>
            <a:off x="1691680" y="1772816"/>
            <a:ext cx="191467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❹</a:t>
            </a:r>
            <a:r>
              <a:rPr lang="ja-JP" altLang="en-US" sz="14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このキャラク　</a:t>
            </a:r>
            <a:endParaRPr lang="en-US" altLang="ja-JP" sz="14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sz="14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ターで歩き始め　</a:t>
            </a:r>
            <a:endParaRPr lang="en-US" altLang="ja-JP" sz="14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sz="14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る」を押す</a:t>
            </a:r>
            <a:endParaRPr lang="en-US" altLang="ja-JP" sz="14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B47FF85-BF0C-A3A8-2B05-2993997CA4CA}"/>
              </a:ext>
            </a:extLst>
          </p:cNvPr>
          <p:cNvSpPr txBox="1"/>
          <p:nvPr/>
        </p:nvSpPr>
        <p:spPr>
          <a:xfrm>
            <a:off x="5623480" y="1844824"/>
            <a:ext cx="1836909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❺</a:t>
            </a:r>
            <a:r>
              <a:rPr lang="ja-JP" altLang="en-US" sz="14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ホーム画面に切　</a:t>
            </a:r>
            <a:endParaRPr lang="en-US" altLang="ja-JP" sz="14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sz="14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り変われば完了</a:t>
            </a:r>
            <a:endParaRPr lang="en-US" altLang="ja-JP" sz="1400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7A7A5473-50FD-195C-C9F3-0BD43DC65D87}"/>
              </a:ext>
            </a:extLst>
          </p:cNvPr>
          <p:cNvSpPr>
            <a:spLocks/>
          </p:cNvSpPr>
          <p:nvPr/>
        </p:nvSpPr>
        <p:spPr>
          <a:xfrm>
            <a:off x="2094185" y="4653136"/>
            <a:ext cx="1152128" cy="216024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DCFCC5FE-4334-F1BE-C3B5-50768DED2D5D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キャラクターを変更しよう</a:t>
            </a:r>
            <a:endParaRPr lang="ja-JP" altLang="en-US" sz="2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6" name="図形グループ 52">
            <a:extLst>
              <a:ext uri="{FF2B5EF4-FFF2-40B4-BE49-F238E27FC236}">
                <a16:creationId xmlns:a16="http://schemas.microsoft.com/office/drawing/2014/main" id="{1A153BCB-B654-C402-11B7-D49F2BA43A2B}"/>
              </a:ext>
            </a:extLst>
          </p:cNvPr>
          <p:cNvGrpSpPr/>
          <p:nvPr/>
        </p:nvGrpSpPr>
        <p:grpSpPr>
          <a:xfrm>
            <a:off x="1836292" y="4318689"/>
            <a:ext cx="325536" cy="324509"/>
            <a:chOff x="5101121" y="3995693"/>
            <a:chExt cx="296586" cy="293005"/>
          </a:xfrm>
        </p:grpSpPr>
        <p:sp>
          <p:nvSpPr>
            <p:cNvPr id="8" name="円/楕円 53">
              <a:extLst>
                <a:ext uri="{FF2B5EF4-FFF2-40B4-BE49-F238E27FC236}">
                  <a16:creationId xmlns:a16="http://schemas.microsoft.com/office/drawing/2014/main" id="{B6D2FCF6-426C-5073-333E-D87D91ACA52A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2" name="フリーフォーム 54">
              <a:extLst>
                <a:ext uri="{FF2B5EF4-FFF2-40B4-BE49-F238E27FC236}">
                  <a16:creationId xmlns:a16="http://schemas.microsoft.com/office/drawing/2014/main" id="{C9B08795-308C-F41E-9A93-D635B7F7C4D6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3" name="図形グループ 23">
            <a:extLst>
              <a:ext uri="{FF2B5EF4-FFF2-40B4-BE49-F238E27FC236}">
                <a16:creationId xmlns:a16="http://schemas.microsoft.com/office/drawing/2014/main" id="{C91777CF-824B-1943-7C66-15B0C77378B6}"/>
              </a:ext>
            </a:extLst>
          </p:cNvPr>
          <p:cNvGrpSpPr/>
          <p:nvPr/>
        </p:nvGrpSpPr>
        <p:grpSpPr>
          <a:xfrm>
            <a:off x="5271009" y="2441258"/>
            <a:ext cx="352471" cy="324619"/>
            <a:chOff x="5878361" y="3995693"/>
            <a:chExt cx="296586" cy="293005"/>
          </a:xfrm>
        </p:grpSpPr>
        <p:sp>
          <p:nvSpPr>
            <p:cNvPr id="14" name="円/楕円 24">
              <a:extLst>
                <a:ext uri="{FF2B5EF4-FFF2-40B4-BE49-F238E27FC236}">
                  <a16:creationId xmlns:a16="http://schemas.microsoft.com/office/drawing/2014/main" id="{E2D36D21-819D-B22D-3411-7D92024FB33E}"/>
                </a:ext>
              </a:extLst>
            </p:cNvPr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15" name="フリーフォーム 25">
              <a:extLst>
                <a:ext uri="{FF2B5EF4-FFF2-40B4-BE49-F238E27FC236}">
                  <a16:creationId xmlns:a16="http://schemas.microsoft.com/office/drawing/2014/main" id="{E8862F74-1138-246B-3557-B3D2F7EBA44B}"/>
                </a:ext>
              </a:extLst>
            </p:cNvPr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42248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503428" y="519018"/>
            <a:ext cx="1447800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目　次</a:t>
            </a:r>
          </a:p>
        </p:txBody>
      </p:sp>
      <p:cxnSp>
        <p:nvCxnSpPr>
          <p:cNvPr id="5" name="直線コネクタ 4">
            <a:extLst>
              <a:ext uri="{FF2B5EF4-FFF2-40B4-BE49-F238E27FC236}">
                <a16:creationId xmlns:a16="http://schemas.microsoft.com/office/drawing/2014/main" id="{9FF9F1F7-9C94-4552-9C83-00A7590B2C4F}"/>
              </a:ext>
            </a:extLst>
          </p:cNvPr>
          <p:cNvCxnSpPr/>
          <p:nvPr/>
        </p:nvCxnSpPr>
        <p:spPr>
          <a:xfrm>
            <a:off x="1692480" y="2295740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431D93C6-4D63-4A58-BD71-A8144243ACE2}"/>
              </a:ext>
            </a:extLst>
          </p:cNvPr>
          <p:cNvCxnSpPr/>
          <p:nvPr/>
        </p:nvCxnSpPr>
        <p:spPr>
          <a:xfrm>
            <a:off x="1692480" y="3819740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D2EE5714-9F4C-DB35-F53F-4D8E5224090D}"/>
              </a:ext>
            </a:extLst>
          </p:cNvPr>
          <p:cNvSpPr txBox="1"/>
          <p:nvPr/>
        </p:nvSpPr>
        <p:spPr>
          <a:xfrm>
            <a:off x="1685508" y="909758"/>
            <a:ext cx="7069464" cy="527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1.</a:t>
            </a:r>
            <a:r>
              <a:rPr lang="en-US" altLang="ja-JP" sz="2400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 PROJECT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を知りましょう </a:t>
            </a: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A.FUN+WALK PROJECT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とは？・・・・・・・・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4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B.FUN+WALK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アプリとは？・・・・・・・・・・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5</a:t>
            </a:r>
          </a:p>
          <a:p>
            <a:pPr algn="dist">
              <a:lnSpc>
                <a:spcPct val="110000"/>
              </a:lnSpc>
            </a:pP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algn="dist">
              <a:lnSpc>
                <a:spcPct val="110000"/>
              </a:lnSpc>
            </a:pP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10000"/>
              </a:lnSpc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2.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準備をしましょう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A.FUN+WALK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アプリのインストール方法・・・・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7</a:t>
            </a: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B.FUN+WALK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アプリの利用設定・・・・・・・・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9</a:t>
            </a:r>
          </a:p>
          <a:p>
            <a:pPr>
              <a:lnSpc>
                <a:spcPct val="110000"/>
              </a:lnSpc>
            </a:pPr>
            <a:endParaRPr lang="en-US" altLang="ja-JP" sz="1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10000"/>
              </a:lnSpc>
            </a:pPr>
            <a:endParaRPr lang="en-US" altLang="ja-JP" sz="1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10000"/>
              </a:lnSpc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3.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を活用してみよう</a:t>
            </a:r>
            <a:endParaRPr lang="ja-JP" altLang="en-US" sz="2400" b="1" dirty="0">
              <a:latin typeface="Meiryo" charset="-128"/>
              <a:ea typeface="Meiryo" charset="-128"/>
              <a:cs typeface="Meiryo" charset="-128"/>
            </a:endParaRP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A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キャラクターを変身させよう・・・・・・・・・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6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B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キャラクターを変更しよう・・・・・・・・・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8</a:t>
            </a: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C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ポイントを交換してみよう・・・・・・・・・・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20</a:t>
            </a: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D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問い合わせ先・・・・・・・・・・・・・・・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22</a:t>
            </a:r>
          </a:p>
          <a:p>
            <a:pPr algn="dist">
              <a:lnSpc>
                <a:spcPct val="110000"/>
              </a:lnSpc>
            </a:pP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564617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直線コネクタ 1">
            <a:extLst>
              <a:ext uri="{FF2B5EF4-FFF2-40B4-BE49-F238E27FC236}">
                <a16:creationId xmlns:a16="http://schemas.microsoft.com/office/drawing/2014/main" id="{2AFA6782-3AA9-5F28-48E4-B580429BDF2E}"/>
              </a:ext>
            </a:extLst>
          </p:cNvPr>
          <p:cNvCxnSpPr>
            <a:cxnSpLocks/>
          </p:cNvCxnSpPr>
          <p:nvPr/>
        </p:nvCxnSpPr>
        <p:spPr>
          <a:xfrm>
            <a:off x="3347864" y="1268760"/>
            <a:ext cx="0" cy="5184576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A24C5C7-7F8B-6F54-33D7-30C9170BCC52}"/>
              </a:ext>
            </a:extLst>
          </p:cNvPr>
          <p:cNvSpPr txBox="1"/>
          <p:nvPr/>
        </p:nvSpPr>
        <p:spPr>
          <a:xfrm>
            <a:off x="3510136" y="1628800"/>
            <a:ext cx="516631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ja-JP" altLang="en-US" sz="20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街のお店で使えるクーポンを</a:t>
            </a:r>
            <a:r>
              <a:rPr lang="en-US" altLang="ja-JP" sz="20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GET</a:t>
            </a:r>
            <a:r>
              <a:rPr lang="ja-JP" altLang="en-US" sz="20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！</a:t>
            </a:r>
            <a:endParaRPr lang="en-US" altLang="ja-JP" sz="2000" b="1" i="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8ADA6263-DDD6-B475-66A3-AB72A2372301}"/>
              </a:ext>
            </a:extLst>
          </p:cNvPr>
          <p:cNvSpPr txBox="1"/>
          <p:nvPr/>
        </p:nvSpPr>
        <p:spPr>
          <a:xfrm>
            <a:off x="3510137" y="2132856"/>
            <a:ext cx="516631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FUN+WALK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アプリには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1000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歩ごとに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1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ポイントたまり８ポイントで様々なおトクなクーポン１枚と交換できる仕組みもあります。</a:t>
            </a:r>
            <a:b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月末にポイントがリセットされるので、お早めに交換しましょう。</a:t>
            </a:r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3" name="図 2">
            <a:extLst>
              <a:ext uri="{FF2B5EF4-FFF2-40B4-BE49-F238E27FC236}">
                <a16:creationId xmlns:a16="http://schemas.microsoft.com/office/drawing/2014/main" id="{A918D8BA-5B10-2571-B0D7-477002170CC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422" t="15640" r="31896" b="16493"/>
          <a:stretch/>
        </p:blipFill>
        <p:spPr>
          <a:xfrm>
            <a:off x="510127" y="1564047"/>
            <a:ext cx="2610126" cy="4606254"/>
          </a:xfrm>
          <a:prstGeom prst="rect">
            <a:avLst/>
          </a:prstGeom>
        </p:spPr>
      </p:pic>
      <p:sp>
        <p:nvSpPr>
          <p:cNvPr id="14" name="タイトル 1">
            <a:extLst>
              <a:ext uri="{FF2B5EF4-FFF2-40B4-BE49-F238E27FC236}">
                <a16:creationId xmlns:a16="http://schemas.microsoft.com/office/drawing/2014/main" id="{59E23856-74B6-6FE0-77F9-D83563E22A12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ポイントを交換してみよう</a:t>
            </a:r>
            <a:endParaRPr lang="ja-JP" alt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AEC1F8-24FE-51F9-9F38-9E1E42DAFBC9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pic>
        <p:nvPicPr>
          <p:cNvPr id="17" name="図 16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F4F80C32-BD84-0753-1288-5D4906BC95A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2836" b="36135"/>
          <a:stretch/>
        </p:blipFill>
        <p:spPr>
          <a:xfrm>
            <a:off x="3957331" y="3856983"/>
            <a:ext cx="4271925" cy="194421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図 4">
            <a:extLst>
              <a:ext uri="{FF2B5EF4-FFF2-40B4-BE49-F238E27FC236}">
                <a16:creationId xmlns:a16="http://schemas.microsoft.com/office/drawing/2014/main" id="{D0863B39-DB61-39D1-F17D-3F52481ECC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39952" y="3933056"/>
            <a:ext cx="720080" cy="753314"/>
          </a:xfrm>
          <a:prstGeom prst="rect">
            <a:avLst/>
          </a:prstGeom>
        </p:spPr>
      </p:pic>
      <p:pic>
        <p:nvPicPr>
          <p:cNvPr id="6" name="図 5">
            <a:extLst>
              <a:ext uri="{FF2B5EF4-FFF2-40B4-BE49-F238E27FC236}">
                <a16:creationId xmlns:a16="http://schemas.microsoft.com/office/drawing/2014/main" id="{82E4CF0C-BEFB-382A-E109-D6F41BD06E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9668" y="4957887"/>
            <a:ext cx="720080" cy="753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3065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">
            <a:extLst>
              <a:ext uri="{FF2B5EF4-FFF2-40B4-BE49-F238E27FC236}">
                <a16:creationId xmlns:a16="http://schemas.microsoft.com/office/drawing/2014/main" id="{D84ED261-D7D0-B35C-6730-18C6953CC63D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ポイントの交換をしてみましょう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975631B-6287-D87F-AFB5-8ACEEC0A1326}"/>
              </a:ext>
            </a:extLst>
          </p:cNvPr>
          <p:cNvSpPr txBox="1"/>
          <p:nvPr/>
        </p:nvSpPr>
        <p:spPr>
          <a:xfrm>
            <a:off x="332218" y="1969200"/>
            <a:ext cx="231322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❶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もらう」を押す</a:t>
            </a:r>
            <a:endParaRPr lang="ja-JP" altLang="ja-JP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B4108066-BEC7-161C-61DE-BEF104BF34F7}"/>
              </a:ext>
            </a:extLst>
          </p:cNvPr>
          <p:cNvSpPr txBox="1"/>
          <p:nvPr/>
        </p:nvSpPr>
        <p:spPr>
          <a:xfrm>
            <a:off x="2459524" y="1886131"/>
            <a:ext cx="205293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❷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交換したいクーポンを選択する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7D1B615E-1D40-E417-B660-9ABA06761647}"/>
              </a:ext>
            </a:extLst>
          </p:cNvPr>
          <p:cNvSpPr txBox="1"/>
          <p:nvPr/>
        </p:nvSpPr>
        <p:spPr>
          <a:xfrm>
            <a:off x="4498250" y="1883827"/>
            <a:ext cx="2451304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❸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このクーポンを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GET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する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grpSp>
        <p:nvGrpSpPr>
          <p:cNvPr id="33" name="グループ化 32">
            <a:extLst>
              <a:ext uri="{FF2B5EF4-FFF2-40B4-BE49-F238E27FC236}">
                <a16:creationId xmlns:a16="http://schemas.microsoft.com/office/drawing/2014/main" id="{A7B25236-6B2E-47FD-AE0F-769A199571D1}"/>
              </a:ext>
            </a:extLst>
          </p:cNvPr>
          <p:cNvGrpSpPr/>
          <p:nvPr/>
        </p:nvGrpSpPr>
        <p:grpSpPr>
          <a:xfrm>
            <a:off x="675183" y="2648037"/>
            <a:ext cx="1679193" cy="3409610"/>
            <a:chOff x="766069" y="2859087"/>
            <a:chExt cx="1423251" cy="3080273"/>
          </a:xfrm>
        </p:grpSpPr>
        <p:pic>
          <p:nvPicPr>
            <p:cNvPr id="12" name="図 11" descr="ダイアグラム&#10;&#10;低い精度で自動的に生成された説明">
              <a:extLst>
                <a:ext uri="{FF2B5EF4-FFF2-40B4-BE49-F238E27FC236}">
                  <a16:creationId xmlns:a16="http://schemas.microsoft.com/office/drawing/2014/main" id="{23F73478-668B-B3C4-FAD4-7797E46E4B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6069" y="2859087"/>
              <a:ext cx="1423251" cy="308027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grpSp>
          <p:nvGrpSpPr>
            <p:cNvPr id="19" name="図形グループ 30">
              <a:extLst>
                <a:ext uri="{FF2B5EF4-FFF2-40B4-BE49-F238E27FC236}">
                  <a16:creationId xmlns:a16="http://schemas.microsoft.com/office/drawing/2014/main" id="{4ED76DAC-CA43-02C7-D97D-9660A0E8DEF6}"/>
                </a:ext>
              </a:extLst>
            </p:cNvPr>
            <p:cNvGrpSpPr/>
            <p:nvPr/>
          </p:nvGrpSpPr>
          <p:grpSpPr>
            <a:xfrm>
              <a:off x="1308555" y="2871170"/>
              <a:ext cx="296587" cy="293005"/>
              <a:chOff x="2897417" y="3995693"/>
              <a:chExt cx="296587" cy="293005"/>
            </a:xfrm>
          </p:grpSpPr>
          <p:sp>
            <p:nvSpPr>
              <p:cNvPr id="20" name="円/楕円 35">
                <a:extLst>
                  <a:ext uri="{FF2B5EF4-FFF2-40B4-BE49-F238E27FC236}">
                    <a16:creationId xmlns:a16="http://schemas.microsoft.com/office/drawing/2014/main" id="{12BD66DE-FCA9-B25E-0084-74C7FBAD8DF5}"/>
                  </a:ext>
                </a:extLst>
              </p:cNvPr>
              <p:cNvSpPr/>
              <p:nvPr/>
            </p:nvSpPr>
            <p:spPr>
              <a:xfrm>
                <a:off x="2898648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21" name="テキスト ボックス 20">
                <a:extLst>
                  <a:ext uri="{FF2B5EF4-FFF2-40B4-BE49-F238E27FC236}">
                    <a16:creationId xmlns:a16="http://schemas.microsoft.com/office/drawing/2014/main" id="{CB4FD7FF-6E10-176C-2060-C570DC693E29}"/>
                  </a:ext>
                </a:extLst>
              </p:cNvPr>
              <p:cNvSpPr txBox="1"/>
              <p:nvPr/>
            </p:nvSpPr>
            <p:spPr>
              <a:xfrm>
                <a:off x="2897417" y="3995693"/>
                <a:ext cx="296587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7" h="293005">
                    <a:moveTo>
                      <a:pt x="130550" y="49974"/>
                    </a:moveTo>
                    <a:cubicBezTo>
                      <a:pt x="129356" y="59415"/>
                      <a:pt x="125070" y="65709"/>
                      <a:pt x="117690" y="68856"/>
                    </a:cubicBezTo>
                    <a:cubicBezTo>
                      <a:pt x="112373" y="71135"/>
                      <a:pt x="103203" y="72275"/>
                      <a:pt x="90180" y="72275"/>
                    </a:cubicBezTo>
                    <a:lnTo>
                      <a:pt x="90180" y="100598"/>
                    </a:lnTo>
                    <a:lnTo>
                      <a:pt x="124202" y="100598"/>
                    </a:lnTo>
                    <a:lnTo>
                      <a:pt x="124202" y="209336"/>
                    </a:lnTo>
                    <a:lnTo>
                      <a:pt x="90180" y="209336"/>
                    </a:lnTo>
                    <a:lnTo>
                      <a:pt x="90180" y="240753"/>
                    </a:lnTo>
                    <a:lnTo>
                      <a:pt x="200546" y="240753"/>
                    </a:lnTo>
                    <a:lnTo>
                      <a:pt x="200546" y="209336"/>
                    </a:lnTo>
                    <a:lnTo>
                      <a:pt x="167176" y="209336"/>
                    </a:lnTo>
                    <a:lnTo>
                      <a:pt x="167176" y="49974"/>
                    </a:lnTo>
                    <a:close/>
                    <a:moveTo>
                      <a:pt x="148619" y="0"/>
                    </a:moveTo>
                    <a:cubicBezTo>
                      <a:pt x="189423" y="0"/>
                      <a:pt x="224285" y="14162"/>
                      <a:pt x="253206" y="42486"/>
                    </a:cubicBezTo>
                    <a:cubicBezTo>
                      <a:pt x="282126" y="70810"/>
                      <a:pt x="296587" y="105211"/>
                      <a:pt x="296587" y="145689"/>
                    </a:cubicBezTo>
                    <a:cubicBezTo>
                      <a:pt x="296587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kumimoji="1" lang="ja-JP" altLang="en-US" sz="26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F7CB3290-135C-C34D-FC6F-025F6F75FE03}"/>
                </a:ext>
              </a:extLst>
            </p:cNvPr>
            <p:cNvSpPr>
              <a:spLocks/>
            </p:cNvSpPr>
            <p:nvPr/>
          </p:nvSpPr>
          <p:spPr>
            <a:xfrm>
              <a:off x="1539296" y="3137399"/>
              <a:ext cx="600380" cy="291601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0" name="グループ化 39">
            <a:extLst>
              <a:ext uri="{FF2B5EF4-FFF2-40B4-BE49-F238E27FC236}">
                <a16:creationId xmlns:a16="http://schemas.microsoft.com/office/drawing/2014/main" id="{3DC6675E-0AFC-4132-A669-D5D4519C5F80}"/>
              </a:ext>
            </a:extLst>
          </p:cNvPr>
          <p:cNvGrpSpPr/>
          <p:nvPr/>
        </p:nvGrpSpPr>
        <p:grpSpPr>
          <a:xfrm>
            <a:off x="6882357" y="2630053"/>
            <a:ext cx="1586460" cy="3409610"/>
            <a:chOff x="7002951" y="2871170"/>
            <a:chExt cx="1445375" cy="3078600"/>
          </a:xfrm>
        </p:grpSpPr>
        <p:pic>
          <p:nvPicPr>
            <p:cNvPr id="3" name="図 2" descr="グラフィカル ユーザー インターフェイス, テキスト, アプリケーション, チャットまたはテキスト メッセージ&#10;&#10;自動的に生成された説明">
              <a:extLst>
                <a:ext uri="{FF2B5EF4-FFF2-40B4-BE49-F238E27FC236}">
                  <a16:creationId xmlns:a16="http://schemas.microsoft.com/office/drawing/2014/main" id="{DC25E8B3-D56D-BD7D-9543-3405B0B380B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025848" y="2871170"/>
              <a:ext cx="1422478" cy="30786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27" name="正方形/長方形 26">
              <a:extLst>
                <a:ext uri="{FF2B5EF4-FFF2-40B4-BE49-F238E27FC236}">
                  <a16:creationId xmlns:a16="http://schemas.microsoft.com/office/drawing/2014/main" id="{619CF1AE-8E37-4EE8-937E-ABCC1ED407CC}"/>
                </a:ext>
              </a:extLst>
            </p:cNvPr>
            <p:cNvSpPr>
              <a:spLocks/>
            </p:cNvSpPr>
            <p:nvPr/>
          </p:nvSpPr>
          <p:spPr>
            <a:xfrm>
              <a:off x="7025847" y="4144816"/>
              <a:ext cx="1422479" cy="1444423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28" name="図形グループ 52">
              <a:extLst>
                <a:ext uri="{FF2B5EF4-FFF2-40B4-BE49-F238E27FC236}">
                  <a16:creationId xmlns:a16="http://schemas.microsoft.com/office/drawing/2014/main" id="{431A6C11-3D31-3C67-CA4C-0F95DD732FF4}"/>
                </a:ext>
              </a:extLst>
            </p:cNvPr>
            <p:cNvGrpSpPr/>
            <p:nvPr/>
          </p:nvGrpSpPr>
          <p:grpSpPr>
            <a:xfrm>
              <a:off x="7002951" y="3807801"/>
              <a:ext cx="296586" cy="293005"/>
              <a:chOff x="5101121" y="3995693"/>
              <a:chExt cx="296586" cy="293005"/>
            </a:xfrm>
          </p:grpSpPr>
          <p:sp>
            <p:nvSpPr>
              <p:cNvPr id="29" name="円/楕円 53">
                <a:extLst>
                  <a:ext uri="{FF2B5EF4-FFF2-40B4-BE49-F238E27FC236}">
                    <a16:creationId xmlns:a16="http://schemas.microsoft.com/office/drawing/2014/main" id="{B14D1865-2A64-A20E-A80B-CAE21487F861}"/>
                  </a:ext>
                </a:extLst>
              </p:cNvPr>
              <p:cNvSpPr/>
              <p:nvPr/>
            </p:nvSpPr>
            <p:spPr>
              <a:xfrm>
                <a:off x="510235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0" name="フリーフォーム 54">
                <a:extLst>
                  <a:ext uri="{FF2B5EF4-FFF2-40B4-BE49-F238E27FC236}">
                    <a16:creationId xmlns:a16="http://schemas.microsoft.com/office/drawing/2014/main" id="{CAA31B7E-CB5A-9301-384A-BEABCA5833B7}"/>
                  </a:ext>
                </a:extLst>
              </p:cNvPr>
              <p:cNvSpPr/>
              <p:nvPr/>
            </p:nvSpPr>
            <p:spPr>
              <a:xfrm>
                <a:off x="510112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4224" y="102715"/>
                    </a:moveTo>
                    <a:lnTo>
                      <a:pt x="144224" y="158060"/>
                    </a:lnTo>
                    <a:lnTo>
                      <a:pt x="100924" y="158060"/>
                    </a:lnTo>
                    <a:close/>
                    <a:moveTo>
                      <a:pt x="149595" y="46392"/>
                    </a:moveTo>
                    <a:lnTo>
                      <a:pt x="62996" y="153991"/>
                    </a:lnTo>
                    <a:lnTo>
                      <a:pt x="62996" y="190616"/>
                    </a:lnTo>
                    <a:lnTo>
                      <a:pt x="144224" y="190616"/>
                    </a:lnTo>
                    <a:lnTo>
                      <a:pt x="144224" y="241078"/>
                    </a:lnTo>
                    <a:lnTo>
                      <a:pt x="187686" y="241078"/>
                    </a:lnTo>
                    <a:lnTo>
                      <a:pt x="187686" y="190616"/>
                    </a:lnTo>
                    <a:lnTo>
                      <a:pt x="212592" y="190616"/>
                    </a:lnTo>
                    <a:lnTo>
                      <a:pt x="212592" y="158060"/>
                    </a:lnTo>
                    <a:lnTo>
                      <a:pt x="187686" y="158060"/>
                    </a:lnTo>
                    <a:lnTo>
                      <a:pt x="187686" y="46392"/>
                    </a:ln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A12EC944-EE08-1B35-2916-36EC708848AD}"/>
              </a:ext>
            </a:extLst>
          </p:cNvPr>
          <p:cNvSpPr txBox="1"/>
          <p:nvPr/>
        </p:nvSpPr>
        <p:spPr>
          <a:xfrm>
            <a:off x="6789626" y="1708082"/>
            <a:ext cx="183690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❹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赤枠内にクーポンが表示されれば完了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ポイントを交換してみよう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grpSp>
        <p:nvGrpSpPr>
          <p:cNvPr id="36" name="グループ化 35">
            <a:extLst>
              <a:ext uri="{FF2B5EF4-FFF2-40B4-BE49-F238E27FC236}">
                <a16:creationId xmlns:a16="http://schemas.microsoft.com/office/drawing/2014/main" id="{DEE2324F-6EBF-4615-A0DF-DB33010CA463}"/>
              </a:ext>
            </a:extLst>
          </p:cNvPr>
          <p:cNvGrpSpPr/>
          <p:nvPr/>
        </p:nvGrpSpPr>
        <p:grpSpPr>
          <a:xfrm>
            <a:off x="2667595" y="2648036"/>
            <a:ext cx="1713286" cy="3409611"/>
            <a:chOff x="2816066" y="2864729"/>
            <a:chExt cx="1465800" cy="3074632"/>
          </a:xfrm>
        </p:grpSpPr>
        <p:grpSp>
          <p:nvGrpSpPr>
            <p:cNvPr id="35" name="グループ化 34">
              <a:extLst>
                <a:ext uri="{FF2B5EF4-FFF2-40B4-BE49-F238E27FC236}">
                  <a16:creationId xmlns:a16="http://schemas.microsoft.com/office/drawing/2014/main" id="{0FDCD8BD-1EDF-454F-AAD3-6DEB5F6848B4}"/>
                </a:ext>
              </a:extLst>
            </p:cNvPr>
            <p:cNvGrpSpPr/>
            <p:nvPr/>
          </p:nvGrpSpPr>
          <p:grpSpPr>
            <a:xfrm>
              <a:off x="2816066" y="2864729"/>
              <a:ext cx="1465800" cy="3074632"/>
              <a:chOff x="2816066" y="2864729"/>
              <a:chExt cx="1465800" cy="3074632"/>
            </a:xfrm>
          </p:grpSpPr>
          <p:pic>
            <p:nvPicPr>
              <p:cNvPr id="11" name="図 10" descr="グラフィカル ユーザー インターフェイス, テキスト, アプリケーション&#10;&#10;自動的に生成された説明">
                <a:extLst>
                  <a:ext uri="{FF2B5EF4-FFF2-40B4-BE49-F238E27FC236}">
                    <a16:creationId xmlns:a16="http://schemas.microsoft.com/office/drawing/2014/main" id="{1AEA334E-E417-F76D-0782-766E545354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861221" y="2864729"/>
                <a:ext cx="1420645" cy="3074632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grpSp>
            <p:nvGrpSpPr>
              <p:cNvPr id="16" name="図形グループ 23">
                <a:extLst>
                  <a:ext uri="{FF2B5EF4-FFF2-40B4-BE49-F238E27FC236}">
                    <a16:creationId xmlns:a16="http://schemas.microsoft.com/office/drawing/2014/main" id="{B30CCC3D-8364-13D4-5C37-F5C355467D37}"/>
                  </a:ext>
                </a:extLst>
              </p:cNvPr>
              <p:cNvGrpSpPr/>
              <p:nvPr/>
            </p:nvGrpSpPr>
            <p:grpSpPr>
              <a:xfrm>
                <a:off x="2816066" y="3808504"/>
                <a:ext cx="296586" cy="293005"/>
                <a:chOff x="3546641" y="3995693"/>
                <a:chExt cx="296586" cy="293005"/>
              </a:xfrm>
            </p:grpSpPr>
            <p:sp>
              <p:nvSpPr>
                <p:cNvPr id="17" name="円/楕円 28">
                  <a:extLst>
                    <a:ext uri="{FF2B5EF4-FFF2-40B4-BE49-F238E27FC236}">
                      <a16:creationId xmlns:a16="http://schemas.microsoft.com/office/drawing/2014/main" id="{08AC664B-FA78-A134-5E9B-52F0F4130E84}"/>
                    </a:ext>
                  </a:extLst>
                </p:cNvPr>
                <p:cNvSpPr/>
                <p:nvPr/>
              </p:nvSpPr>
              <p:spPr>
                <a:xfrm>
                  <a:off x="3547872" y="3996395"/>
                  <a:ext cx="291600" cy="2916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dirty="0"/>
                </a:p>
              </p:txBody>
            </p:sp>
            <p:sp>
              <p:nvSpPr>
                <p:cNvPr id="18" name="フリーフォーム 29">
                  <a:extLst>
                    <a:ext uri="{FF2B5EF4-FFF2-40B4-BE49-F238E27FC236}">
                      <a16:creationId xmlns:a16="http://schemas.microsoft.com/office/drawing/2014/main" id="{50CF31B2-2F78-76D1-2F13-B8036F759522}"/>
                    </a:ext>
                  </a:extLst>
                </p:cNvPr>
                <p:cNvSpPr/>
                <p:nvPr/>
              </p:nvSpPr>
              <p:spPr>
                <a:xfrm>
                  <a:off x="3546641" y="3995693"/>
                  <a:ext cx="296586" cy="2930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6586" h="293005">
                      <a:moveTo>
                        <a:pt x="143572" y="44927"/>
                      </a:moveTo>
                      <a:cubicBezTo>
                        <a:pt x="124582" y="44927"/>
                        <a:pt x="106024" y="49974"/>
                        <a:pt x="87902" y="60066"/>
                      </a:cubicBezTo>
                      <a:lnTo>
                        <a:pt x="87902" y="96366"/>
                      </a:lnTo>
                      <a:lnTo>
                        <a:pt x="91971" y="96041"/>
                      </a:lnTo>
                      <a:cubicBezTo>
                        <a:pt x="96746" y="92894"/>
                        <a:pt x="103637" y="89855"/>
                        <a:pt x="112644" y="86925"/>
                      </a:cubicBezTo>
                      <a:cubicBezTo>
                        <a:pt x="123279" y="83452"/>
                        <a:pt x="132612" y="81716"/>
                        <a:pt x="140643" y="81716"/>
                      </a:cubicBezTo>
                      <a:cubicBezTo>
                        <a:pt x="157029" y="81716"/>
                        <a:pt x="165222" y="88715"/>
                        <a:pt x="165222" y="102715"/>
                      </a:cubicBezTo>
                      <a:cubicBezTo>
                        <a:pt x="165222" y="111071"/>
                        <a:pt x="162726" y="119427"/>
                        <a:pt x="157734" y="127783"/>
                      </a:cubicBezTo>
                      <a:cubicBezTo>
                        <a:pt x="152960" y="135705"/>
                        <a:pt x="144386" y="146231"/>
                        <a:pt x="132015" y="159362"/>
                      </a:cubicBezTo>
                      <a:cubicBezTo>
                        <a:pt x="120837" y="171083"/>
                        <a:pt x="113675" y="178570"/>
                        <a:pt x="110528" y="181826"/>
                      </a:cubicBezTo>
                      <a:cubicBezTo>
                        <a:pt x="103040" y="189205"/>
                        <a:pt x="94196" y="197182"/>
                        <a:pt x="83995" y="205755"/>
                      </a:cubicBezTo>
                      <a:lnTo>
                        <a:pt x="83995" y="240102"/>
                      </a:lnTo>
                      <a:lnTo>
                        <a:pt x="213568" y="240102"/>
                      </a:lnTo>
                      <a:lnTo>
                        <a:pt x="213568" y="205755"/>
                      </a:lnTo>
                      <a:lnTo>
                        <a:pt x="137224" y="205755"/>
                      </a:lnTo>
                      <a:cubicBezTo>
                        <a:pt x="150681" y="193492"/>
                        <a:pt x="162455" y="182260"/>
                        <a:pt x="172548" y="172059"/>
                      </a:cubicBezTo>
                      <a:cubicBezTo>
                        <a:pt x="185570" y="158928"/>
                        <a:pt x="194523" y="148239"/>
                        <a:pt x="199406" y="139991"/>
                      </a:cubicBezTo>
                      <a:cubicBezTo>
                        <a:pt x="206460" y="128271"/>
                        <a:pt x="209987" y="115412"/>
                        <a:pt x="209987" y="101412"/>
                      </a:cubicBezTo>
                      <a:cubicBezTo>
                        <a:pt x="209987" y="84483"/>
                        <a:pt x="203910" y="70837"/>
                        <a:pt x="191756" y="60473"/>
                      </a:cubicBezTo>
                      <a:cubicBezTo>
                        <a:pt x="179601" y="50109"/>
                        <a:pt x="163540" y="44927"/>
                        <a:pt x="143572" y="44927"/>
                      </a:cubicBezTo>
                      <a:close/>
                      <a:moveTo>
                        <a:pt x="148619" y="0"/>
                      </a:moveTo>
                      <a:cubicBezTo>
                        <a:pt x="189422" y="0"/>
                        <a:pt x="224285" y="14162"/>
                        <a:pt x="253205" y="42486"/>
                      </a:cubicBezTo>
                      <a:cubicBezTo>
                        <a:pt x="282126" y="70810"/>
                        <a:pt x="296586" y="105211"/>
                        <a:pt x="296586" y="145689"/>
                      </a:cubicBezTo>
                      <a:cubicBezTo>
                        <a:pt x="296586" y="186275"/>
                        <a:pt x="282045" y="220975"/>
                        <a:pt x="252961" y="249787"/>
                      </a:cubicBezTo>
                      <a:cubicBezTo>
                        <a:pt x="223878" y="278599"/>
                        <a:pt x="188988" y="293005"/>
                        <a:pt x="148293" y="293005"/>
                      </a:cubicBezTo>
                      <a:cubicBezTo>
                        <a:pt x="107598" y="293005"/>
                        <a:pt x="72709" y="278599"/>
                        <a:pt x="43625" y="249787"/>
                      </a:cubicBezTo>
                      <a:cubicBezTo>
                        <a:pt x="14542" y="220975"/>
                        <a:pt x="0" y="186275"/>
                        <a:pt x="0" y="145689"/>
                      </a:cubicBezTo>
                      <a:cubicBezTo>
                        <a:pt x="0" y="105211"/>
                        <a:pt x="14542" y="70810"/>
                        <a:pt x="43625" y="42486"/>
                      </a:cubicBezTo>
                      <a:cubicBezTo>
                        <a:pt x="72709" y="14162"/>
                        <a:pt x="107706" y="0"/>
                        <a:pt x="148619" y="0"/>
                      </a:cubicBezTo>
                      <a:close/>
                    </a:path>
                  </a:pathLst>
                </a:custGeom>
                <a:solidFill>
                  <a:srgbClr val="00965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</p:grpSp>
          <p:sp>
            <p:nvSpPr>
              <p:cNvPr id="22" name="正方形/長方形 21">
                <a:extLst>
                  <a:ext uri="{FF2B5EF4-FFF2-40B4-BE49-F238E27FC236}">
                    <a16:creationId xmlns:a16="http://schemas.microsoft.com/office/drawing/2014/main" id="{EE954BF3-C1CC-D7CA-C346-3900606B65D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861221" y="4144817"/>
                <a:ext cx="1420644" cy="748694"/>
              </a:xfrm>
              <a:prstGeom prst="rect">
                <a:avLst/>
              </a:prstGeom>
              <a:noFill/>
              <a:ln w="28575">
                <a:solidFill>
                  <a:srgbClr val="FF0000"/>
                </a:solidFill>
              </a:ln>
              <a:effectLst>
                <a:glow rad="25400">
                  <a:schemeClr val="bg1"/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pic>
          <p:nvPicPr>
            <p:cNvPr id="6" name="図 5">
              <a:extLst>
                <a:ext uri="{FF2B5EF4-FFF2-40B4-BE49-F238E27FC236}">
                  <a16:creationId xmlns:a16="http://schemas.microsoft.com/office/drawing/2014/main" id="{20073353-A8A4-62F5-C5C9-3E24A13E2A3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931691" y="4224937"/>
              <a:ext cx="238261" cy="249258"/>
            </a:xfrm>
            <a:prstGeom prst="rect">
              <a:avLst/>
            </a:prstGeom>
          </p:spPr>
        </p:pic>
        <p:pic>
          <p:nvPicPr>
            <p:cNvPr id="7" name="図 6">
              <a:extLst>
                <a:ext uri="{FF2B5EF4-FFF2-40B4-BE49-F238E27FC236}">
                  <a16:creationId xmlns:a16="http://schemas.microsoft.com/office/drawing/2014/main" id="{F16C6D61-CF46-C67D-1121-2CB2A15AE2D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931690" y="4554315"/>
              <a:ext cx="238261" cy="249258"/>
            </a:xfrm>
            <a:prstGeom prst="rect">
              <a:avLst/>
            </a:prstGeom>
          </p:spPr>
        </p:pic>
      </p:grpSp>
      <p:grpSp>
        <p:nvGrpSpPr>
          <p:cNvPr id="39" name="グループ化 38">
            <a:extLst>
              <a:ext uri="{FF2B5EF4-FFF2-40B4-BE49-F238E27FC236}">
                <a16:creationId xmlns:a16="http://schemas.microsoft.com/office/drawing/2014/main" id="{480FE614-4DC5-4325-82F8-1EE178495AC0}"/>
              </a:ext>
            </a:extLst>
          </p:cNvPr>
          <p:cNvGrpSpPr/>
          <p:nvPr/>
        </p:nvGrpSpPr>
        <p:grpSpPr>
          <a:xfrm>
            <a:off x="4615542" y="2648036"/>
            <a:ext cx="1836908" cy="3409611"/>
            <a:chOff x="4615542" y="2648036"/>
            <a:chExt cx="1756658" cy="3301733"/>
          </a:xfrm>
        </p:grpSpPr>
        <p:grpSp>
          <p:nvGrpSpPr>
            <p:cNvPr id="38" name="グループ化 37">
              <a:extLst>
                <a:ext uri="{FF2B5EF4-FFF2-40B4-BE49-F238E27FC236}">
                  <a16:creationId xmlns:a16="http://schemas.microsoft.com/office/drawing/2014/main" id="{957B2724-1493-4CE2-AEB3-1ECDC11A6893}"/>
                </a:ext>
              </a:extLst>
            </p:cNvPr>
            <p:cNvGrpSpPr/>
            <p:nvPr/>
          </p:nvGrpSpPr>
          <p:grpSpPr>
            <a:xfrm>
              <a:off x="4615542" y="2648036"/>
              <a:ext cx="1756658" cy="3301733"/>
              <a:chOff x="4782957" y="2868660"/>
              <a:chExt cx="1543369" cy="3070700"/>
            </a:xfrm>
          </p:grpSpPr>
          <p:grpSp>
            <p:nvGrpSpPr>
              <p:cNvPr id="37" name="グループ化 36">
                <a:extLst>
                  <a:ext uri="{FF2B5EF4-FFF2-40B4-BE49-F238E27FC236}">
                    <a16:creationId xmlns:a16="http://schemas.microsoft.com/office/drawing/2014/main" id="{1B91CA0C-0E83-47F3-8B2A-87C8426ADAB3}"/>
                  </a:ext>
                </a:extLst>
              </p:cNvPr>
              <p:cNvGrpSpPr/>
              <p:nvPr/>
            </p:nvGrpSpPr>
            <p:grpSpPr>
              <a:xfrm>
                <a:off x="4782957" y="2868660"/>
                <a:ext cx="1543369" cy="3070700"/>
                <a:chOff x="4782957" y="2868660"/>
                <a:chExt cx="1543369" cy="3070700"/>
              </a:xfrm>
            </p:grpSpPr>
            <p:pic>
              <p:nvPicPr>
                <p:cNvPr id="5" name="図 4" descr="グラフィカル ユーザー インターフェイス, テキスト, Web サイト&#10;&#10;自動的に生成された説明">
                  <a:extLst>
                    <a:ext uri="{FF2B5EF4-FFF2-40B4-BE49-F238E27FC236}">
                      <a16:creationId xmlns:a16="http://schemas.microsoft.com/office/drawing/2014/main" id="{455E1170-75FF-62AA-79B1-E2305724C0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4907498" y="2868660"/>
                  <a:ext cx="1418828" cy="3070700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</p:pic>
            <p:grpSp>
              <p:nvGrpSpPr>
                <p:cNvPr id="24" name="図形グループ 55">
                  <a:extLst>
                    <a:ext uri="{FF2B5EF4-FFF2-40B4-BE49-F238E27FC236}">
                      <a16:creationId xmlns:a16="http://schemas.microsoft.com/office/drawing/2014/main" id="{8E22F6D6-58B3-920F-A1B9-358616E9A7CC}"/>
                    </a:ext>
                  </a:extLst>
                </p:cNvPr>
                <p:cNvGrpSpPr/>
                <p:nvPr/>
              </p:nvGrpSpPr>
              <p:grpSpPr>
                <a:xfrm>
                  <a:off x="4782957" y="5274518"/>
                  <a:ext cx="296586" cy="293005"/>
                  <a:chOff x="4232441" y="3995693"/>
                  <a:chExt cx="296586" cy="293005"/>
                </a:xfrm>
              </p:grpSpPr>
              <p:sp>
                <p:nvSpPr>
                  <p:cNvPr id="25" name="円/楕円 56">
                    <a:extLst>
                      <a:ext uri="{FF2B5EF4-FFF2-40B4-BE49-F238E27FC236}">
                        <a16:creationId xmlns:a16="http://schemas.microsoft.com/office/drawing/2014/main" id="{1A3B6D0C-6030-7DFD-2AC7-DCFF0C05AF3E}"/>
                      </a:ext>
                    </a:extLst>
                  </p:cNvPr>
                  <p:cNvSpPr/>
                  <p:nvPr/>
                </p:nvSpPr>
                <p:spPr>
                  <a:xfrm>
                    <a:off x="4233672" y="3996395"/>
                    <a:ext cx="291600" cy="291600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kumimoji="1" lang="ja-JP" altLang="en-US"/>
                  </a:p>
                </p:txBody>
              </p:sp>
              <p:sp>
                <p:nvSpPr>
                  <p:cNvPr id="26" name="フリーフォーム 57">
                    <a:extLst>
                      <a:ext uri="{FF2B5EF4-FFF2-40B4-BE49-F238E27FC236}">
                        <a16:creationId xmlns:a16="http://schemas.microsoft.com/office/drawing/2014/main" id="{16D1CEA2-659A-7891-BB4E-1EF130FAFCC7}"/>
                      </a:ext>
                    </a:extLst>
                  </p:cNvPr>
                  <p:cNvSpPr/>
                  <p:nvPr/>
                </p:nvSpPr>
                <p:spPr>
                  <a:xfrm>
                    <a:off x="4232441" y="3995693"/>
                    <a:ext cx="296586" cy="29300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96586" h="293005">
                        <a:moveTo>
                          <a:pt x="147968" y="45253"/>
                        </a:moveTo>
                        <a:cubicBezTo>
                          <a:pt x="129194" y="45253"/>
                          <a:pt x="110420" y="50299"/>
                          <a:pt x="91645" y="60392"/>
                        </a:cubicBezTo>
                        <a:lnTo>
                          <a:pt x="91645" y="98320"/>
                        </a:lnTo>
                        <a:lnTo>
                          <a:pt x="96203" y="98320"/>
                        </a:lnTo>
                        <a:cubicBezTo>
                          <a:pt x="101087" y="93979"/>
                          <a:pt x="108575" y="89963"/>
                          <a:pt x="118667" y="86274"/>
                        </a:cubicBezTo>
                        <a:cubicBezTo>
                          <a:pt x="129302" y="82367"/>
                          <a:pt x="138743" y="80414"/>
                          <a:pt x="146991" y="80414"/>
                        </a:cubicBezTo>
                        <a:cubicBezTo>
                          <a:pt x="154045" y="80414"/>
                          <a:pt x="160230" y="81933"/>
                          <a:pt x="165548" y="84972"/>
                        </a:cubicBezTo>
                        <a:cubicBezTo>
                          <a:pt x="169997" y="87576"/>
                          <a:pt x="172222" y="92242"/>
                          <a:pt x="172222" y="98971"/>
                        </a:cubicBezTo>
                        <a:cubicBezTo>
                          <a:pt x="172222" y="106133"/>
                          <a:pt x="169536" y="111776"/>
                          <a:pt x="164164" y="115900"/>
                        </a:cubicBezTo>
                        <a:cubicBezTo>
                          <a:pt x="158793" y="120024"/>
                          <a:pt x="151603" y="122086"/>
                          <a:pt x="142596" y="122086"/>
                        </a:cubicBezTo>
                        <a:lnTo>
                          <a:pt x="125667" y="122086"/>
                        </a:lnTo>
                        <a:lnTo>
                          <a:pt x="125667" y="153339"/>
                        </a:lnTo>
                        <a:lnTo>
                          <a:pt x="144875" y="153339"/>
                        </a:lnTo>
                        <a:cubicBezTo>
                          <a:pt x="165385" y="153339"/>
                          <a:pt x="175640" y="162130"/>
                          <a:pt x="175640" y="179710"/>
                        </a:cubicBezTo>
                        <a:cubicBezTo>
                          <a:pt x="175640" y="189043"/>
                          <a:pt x="172656" y="196476"/>
                          <a:pt x="166687" y="202011"/>
                        </a:cubicBezTo>
                        <a:cubicBezTo>
                          <a:pt x="161153" y="207111"/>
                          <a:pt x="154045" y="209662"/>
                          <a:pt x="145363" y="209662"/>
                        </a:cubicBezTo>
                        <a:cubicBezTo>
                          <a:pt x="136356" y="209662"/>
                          <a:pt x="126562" y="207952"/>
                          <a:pt x="115981" y="204534"/>
                        </a:cubicBezTo>
                        <a:cubicBezTo>
                          <a:pt x="105400" y="201116"/>
                          <a:pt x="97289" y="197182"/>
                          <a:pt x="91645" y="192732"/>
                        </a:cubicBezTo>
                        <a:lnTo>
                          <a:pt x="86599" y="192732"/>
                        </a:lnTo>
                        <a:lnTo>
                          <a:pt x="86599" y="230660"/>
                        </a:lnTo>
                        <a:cubicBezTo>
                          <a:pt x="107218" y="240427"/>
                          <a:pt x="127023" y="245311"/>
                          <a:pt x="146014" y="245311"/>
                        </a:cubicBezTo>
                        <a:cubicBezTo>
                          <a:pt x="166850" y="245311"/>
                          <a:pt x="183888" y="239478"/>
                          <a:pt x="197127" y="227812"/>
                        </a:cubicBezTo>
                        <a:cubicBezTo>
                          <a:pt x="210367" y="216146"/>
                          <a:pt x="216987" y="201088"/>
                          <a:pt x="216987" y="182640"/>
                        </a:cubicBezTo>
                        <a:cubicBezTo>
                          <a:pt x="216987" y="157029"/>
                          <a:pt x="203856" y="142270"/>
                          <a:pt x="177594" y="138364"/>
                        </a:cubicBezTo>
                        <a:lnTo>
                          <a:pt x="177594" y="136410"/>
                        </a:lnTo>
                        <a:cubicBezTo>
                          <a:pt x="187795" y="135325"/>
                          <a:pt x="196151" y="131418"/>
                          <a:pt x="202662" y="124690"/>
                        </a:cubicBezTo>
                        <a:cubicBezTo>
                          <a:pt x="209716" y="117311"/>
                          <a:pt x="213243" y="107869"/>
                          <a:pt x="213243" y="96366"/>
                        </a:cubicBezTo>
                        <a:cubicBezTo>
                          <a:pt x="213243" y="80088"/>
                          <a:pt x="206243" y="66957"/>
                          <a:pt x="192244" y="56973"/>
                        </a:cubicBezTo>
                        <a:cubicBezTo>
                          <a:pt x="181283" y="49160"/>
                          <a:pt x="166525" y="45253"/>
                          <a:pt x="147968" y="45253"/>
                        </a:cubicBezTo>
                        <a:close/>
                        <a:moveTo>
                          <a:pt x="148619" y="0"/>
                        </a:moveTo>
                        <a:cubicBezTo>
                          <a:pt x="189422" y="0"/>
                          <a:pt x="224285" y="14162"/>
                          <a:pt x="253205" y="42486"/>
                        </a:cubicBezTo>
                        <a:cubicBezTo>
                          <a:pt x="282126" y="70810"/>
                          <a:pt x="296586" y="105211"/>
                          <a:pt x="296586" y="145689"/>
                        </a:cubicBezTo>
                        <a:cubicBezTo>
                          <a:pt x="296586" y="186275"/>
                          <a:pt x="282045" y="220975"/>
                          <a:pt x="252961" y="249787"/>
                        </a:cubicBezTo>
                        <a:cubicBezTo>
                          <a:pt x="223878" y="278599"/>
                          <a:pt x="188988" y="293005"/>
                          <a:pt x="148293" y="293005"/>
                        </a:cubicBezTo>
                        <a:cubicBezTo>
                          <a:pt x="107598" y="293005"/>
                          <a:pt x="72709" y="278599"/>
                          <a:pt x="43625" y="249787"/>
                        </a:cubicBezTo>
                        <a:cubicBezTo>
                          <a:pt x="14542" y="220975"/>
                          <a:pt x="0" y="186275"/>
                          <a:pt x="0" y="145689"/>
                        </a:cubicBezTo>
                        <a:cubicBezTo>
                          <a:pt x="0" y="105211"/>
                          <a:pt x="14542" y="70810"/>
                          <a:pt x="43625" y="42486"/>
                        </a:cubicBezTo>
                        <a:cubicBezTo>
                          <a:pt x="72709" y="14162"/>
                          <a:pt x="107707" y="0"/>
                          <a:pt x="148619" y="0"/>
                        </a:cubicBezTo>
                        <a:close/>
                      </a:path>
                    </a:pathLst>
                  </a:custGeom>
                  <a:solidFill>
                    <a:srgbClr val="00965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kumimoji="1" lang="ja-JP" altLang="en-US"/>
                  </a:p>
                </p:txBody>
              </p:sp>
            </p:grpSp>
            <p:sp>
              <p:nvSpPr>
                <p:cNvPr id="31" name="正方形/長方形 30">
                  <a:extLst>
                    <a:ext uri="{FF2B5EF4-FFF2-40B4-BE49-F238E27FC236}">
                      <a16:creationId xmlns:a16="http://schemas.microsoft.com/office/drawing/2014/main" id="{E40CDC8B-241C-A605-5930-57366E49F136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075788" y="5516886"/>
                  <a:ext cx="1080388" cy="291600"/>
                </a:xfrm>
                <a:prstGeom prst="rect">
                  <a:avLst/>
                </a:prstGeom>
                <a:noFill/>
                <a:ln w="28575">
                  <a:solidFill>
                    <a:srgbClr val="FF0000"/>
                  </a:solidFill>
                </a:ln>
                <a:effectLst>
                  <a:glow rad="25400">
                    <a:schemeClr val="bg1"/>
                  </a:glo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  <p:pic>
              <p:nvPicPr>
                <p:cNvPr id="8" name="図 7">
                  <a:extLst>
                    <a:ext uri="{FF2B5EF4-FFF2-40B4-BE49-F238E27FC236}">
                      <a16:creationId xmlns:a16="http://schemas.microsoft.com/office/drawing/2014/main" id="{EBD8A71A-EC59-D8DA-43F8-29E93B464BE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4981388" y="3852251"/>
                  <a:ext cx="238261" cy="249258"/>
                </a:xfrm>
                <a:prstGeom prst="rect">
                  <a:avLst/>
                </a:prstGeom>
              </p:spPr>
            </p:pic>
          </p:grpSp>
          <p:sp>
            <p:nvSpPr>
              <p:cNvPr id="9" name="正方形/長方形 8">
                <a:extLst>
                  <a:ext uri="{FF2B5EF4-FFF2-40B4-BE49-F238E27FC236}">
                    <a16:creationId xmlns:a16="http://schemas.microsoft.com/office/drawing/2014/main" id="{B5F27061-1AA1-1E1A-4E35-413DCD956218}"/>
                  </a:ext>
                </a:extLst>
              </p:cNvPr>
              <p:cNvSpPr/>
              <p:nvPr/>
            </p:nvSpPr>
            <p:spPr>
              <a:xfrm>
                <a:off x="4907498" y="3173700"/>
                <a:ext cx="1418828" cy="645031"/>
              </a:xfrm>
              <a:prstGeom prst="rect">
                <a:avLst/>
              </a:prstGeom>
              <a:solidFill>
                <a:srgbClr val="66B6A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dirty="0">
                  <a:latin typeface="メイリオ" panose="020B0604030504040204" pitchFamily="50" charset="-128"/>
                  <a:ea typeface="メイリオ" panose="020B0604030504040204" pitchFamily="50" charset="-128"/>
                </a:endParaRPr>
              </a:p>
            </p:txBody>
          </p:sp>
        </p:grpSp>
        <p:pic>
          <p:nvPicPr>
            <p:cNvPr id="34" name="図 33">
              <a:extLst>
                <a:ext uri="{FF2B5EF4-FFF2-40B4-BE49-F238E27FC236}">
                  <a16:creationId xmlns:a16="http://schemas.microsoft.com/office/drawing/2014/main" id="{1B2372C8-5B52-D7A1-2E2B-8B2A08150D6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970292" y="4228819"/>
              <a:ext cx="524198" cy="12566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57990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">
            <a:extLst>
              <a:ext uri="{FF2B5EF4-FFF2-40B4-BE49-F238E27FC236}">
                <a16:creationId xmlns:a16="http://schemas.microsoft.com/office/drawing/2014/main" id="{D84ED261-D7D0-B35C-6730-18C6953CC63D}"/>
              </a:ext>
            </a:extLst>
          </p:cNvPr>
          <p:cNvSpPr txBox="1">
            <a:spLocks/>
          </p:cNvSpPr>
          <p:nvPr/>
        </p:nvSpPr>
        <p:spPr>
          <a:xfrm>
            <a:off x="741063" y="2598009"/>
            <a:ext cx="7661873" cy="129798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ctr"/>
            <a:r>
              <a:rPr lang="ja-JP" altLang="en-US" sz="36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プロジェクトに関する問い合わせ先</a:t>
            </a:r>
            <a:endParaRPr lang="en-US" altLang="ja-JP" sz="36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lang="en-US" altLang="ja-JP" sz="36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hlinkClick r:id="rId3"/>
              </a:rPr>
              <a:t>funpluswalk@mext.go.jp</a:t>
            </a:r>
            <a:endParaRPr lang="ja-JP" altLang="en-US" sz="36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2646878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問い合わせ先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D</a:t>
            </a:r>
            <a:endParaRPr lang="en-US" sz="3600" dirty="0"/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81CA7E6F-609E-405D-AA36-CD801D90B7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11579" y="4149080"/>
            <a:ext cx="1720840" cy="2032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7240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691680" y="621088"/>
            <a:ext cx="6912768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1</a:t>
            </a:r>
            <a:endParaRPr lang="ja-JP" altLang="en-US" sz="14000" dirty="0">
              <a:solidFill>
                <a:srgbClr val="009650"/>
              </a:solidFill>
            </a:endParaRPr>
          </a:p>
          <a:p>
            <a:endParaRPr lang="en-US" altLang="ja-JP" sz="4400" dirty="0">
              <a:solidFill>
                <a:srgbClr val="009650"/>
              </a:solidFill>
            </a:endParaRPr>
          </a:p>
          <a:p>
            <a:r>
              <a:rPr lang="ja-JP" altLang="en-US" sz="4400" dirty="0">
                <a:solidFill>
                  <a:srgbClr val="009650"/>
                </a:solidFill>
              </a:rPr>
              <a:t>を知りましょう</a:t>
            </a:r>
            <a:endParaRPr lang="en-US" altLang="ja-JP" sz="4400" dirty="0">
              <a:solidFill>
                <a:srgbClr val="009650"/>
              </a:solidFill>
            </a:endParaRPr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92330200-6C3D-4B45-A76B-462803F759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7664" y="2453372"/>
            <a:ext cx="5364088" cy="1169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760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">
            <a:extLst>
              <a:ext uri="{FF2B5EF4-FFF2-40B4-BE49-F238E27FC236}">
                <a16:creationId xmlns:a16="http://schemas.microsoft.com/office/drawing/2014/main" id="{5B81125F-49BE-82C0-A570-0699A7F702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90818" y="573379"/>
            <a:ext cx="1261884" cy="490904"/>
          </a:xfrm>
        </p:spPr>
        <p:txBody>
          <a:bodyPr wrap="none">
            <a:spAutoFit/>
          </a:bodyPr>
          <a:lstStyle/>
          <a:p>
            <a:r>
              <a:rPr lang="ja-JP" altLang="en-US" sz="2800" dirty="0"/>
              <a:t>とは？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8AEFCDF-990B-74E2-70E3-A8CA655E069C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44428739-C7AC-E6CC-D932-E1E795959470}"/>
              </a:ext>
            </a:extLst>
          </p:cNvPr>
          <p:cNvSpPr txBox="1"/>
          <p:nvPr/>
        </p:nvSpPr>
        <p:spPr>
          <a:xfrm>
            <a:off x="667720" y="1518423"/>
            <a:ext cx="7808560" cy="1323439"/>
          </a:xfrm>
          <a:prstGeom prst="rect">
            <a:avLst/>
          </a:prstGeom>
          <a:solidFill>
            <a:srgbClr val="83CCAA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ja-JP" sz="2000" i="0" dirty="0">
                <a:solidFill>
                  <a:schemeClr val="bg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FUN+WALK PROJECT</a:t>
            </a:r>
            <a:r>
              <a:rPr lang="ja-JP" altLang="en-US" sz="2000" i="0" dirty="0">
                <a:solidFill>
                  <a:schemeClr val="bg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は、</a:t>
            </a:r>
            <a:br>
              <a:rPr lang="ja-JP" altLang="en-US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sz="2000" i="0" dirty="0">
                <a:solidFill>
                  <a:schemeClr val="bg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歩くことをもっと楽しく、楽しいことをもっと健康的なものにする</a:t>
            </a:r>
            <a:br>
              <a:rPr lang="ja-JP" altLang="en-US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sz="2000" i="0" dirty="0">
                <a:solidFill>
                  <a:schemeClr val="bg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スポーツ庁の官民連携プロジェクトです。</a:t>
            </a:r>
            <a:br>
              <a:rPr lang="ja-JP" altLang="en-US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sz="2000" i="0" dirty="0">
                <a:solidFill>
                  <a:schemeClr val="bg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「歩く」を入口に、国民の健康増進を目指しています。</a:t>
            </a:r>
            <a:endParaRPr lang="ja-JP" altLang="en-US" sz="2000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529C2ABC-BFBF-4789-A823-3E96579E417B}"/>
              </a:ext>
            </a:extLst>
          </p:cNvPr>
          <p:cNvGrpSpPr/>
          <p:nvPr/>
        </p:nvGrpSpPr>
        <p:grpSpPr>
          <a:xfrm>
            <a:off x="510127" y="3789040"/>
            <a:ext cx="4061873" cy="2520129"/>
            <a:chOff x="510127" y="2819448"/>
            <a:chExt cx="4061873" cy="2520129"/>
          </a:xfrm>
        </p:grpSpPr>
        <p:sp>
          <p:nvSpPr>
            <p:cNvPr id="13" name="四角形: 角を丸くする 12">
              <a:extLst>
                <a:ext uri="{FF2B5EF4-FFF2-40B4-BE49-F238E27FC236}">
                  <a16:creationId xmlns:a16="http://schemas.microsoft.com/office/drawing/2014/main" id="{846D7161-F3F1-37BA-8853-C03FDC147CEA}"/>
                </a:ext>
              </a:extLst>
            </p:cNvPr>
            <p:cNvSpPr/>
            <p:nvPr/>
          </p:nvSpPr>
          <p:spPr>
            <a:xfrm>
              <a:off x="510127" y="2819448"/>
              <a:ext cx="3627616" cy="2520129"/>
            </a:xfrm>
            <a:prstGeom prst="roundRect">
              <a:avLst/>
            </a:prstGeom>
            <a:solidFill>
              <a:srgbClr val="83CCAA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5" name="テキスト ボックス 4">
              <a:extLst>
                <a:ext uri="{FF2B5EF4-FFF2-40B4-BE49-F238E27FC236}">
                  <a16:creationId xmlns:a16="http://schemas.microsoft.com/office/drawing/2014/main" id="{34952634-62C7-A257-3DB6-3BA59809D708}"/>
                </a:ext>
              </a:extLst>
            </p:cNvPr>
            <p:cNvSpPr txBox="1"/>
            <p:nvPr/>
          </p:nvSpPr>
          <p:spPr>
            <a:xfrm>
              <a:off x="919971" y="3265319"/>
              <a:ext cx="2448272" cy="19389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グルメ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仕事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音楽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デート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美容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写真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9" name="テキスト ボックス 8">
              <a:extLst>
                <a:ext uri="{FF2B5EF4-FFF2-40B4-BE49-F238E27FC236}">
                  <a16:creationId xmlns:a16="http://schemas.microsoft.com/office/drawing/2014/main" id="{80D081DD-487F-39A7-D9C1-3103E79591C8}"/>
                </a:ext>
              </a:extLst>
            </p:cNvPr>
            <p:cNvSpPr txBox="1"/>
            <p:nvPr/>
          </p:nvSpPr>
          <p:spPr>
            <a:xfrm>
              <a:off x="2123728" y="3262086"/>
              <a:ext cx="2448272" cy="19389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ショッピング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ファッション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旅行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アート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イベント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自然</a:t>
              </a:r>
              <a:endParaRPr lang="ja-JP" altLang="en-US" sz="2000" dirty="0">
                <a:solidFill>
                  <a:schemeClr val="bg1"/>
                </a:solidFill>
              </a:endParaRPr>
            </a:p>
          </p:txBody>
        </p:sp>
      </p:grp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786C9515-5413-4424-4D7B-7AF060636360}"/>
              </a:ext>
            </a:extLst>
          </p:cNvPr>
          <p:cNvSpPr txBox="1"/>
          <p:nvPr/>
        </p:nvSpPr>
        <p:spPr>
          <a:xfrm>
            <a:off x="4137743" y="4787292"/>
            <a:ext cx="449613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5400" b="1" dirty="0">
                <a:solidFill>
                  <a:srgbClr val="66B6A3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＋ </a:t>
            </a:r>
            <a:r>
              <a:rPr lang="en-US" altLang="ja-JP" sz="5400" b="1" dirty="0">
                <a:solidFill>
                  <a:srgbClr val="66B6A3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WALK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4316B287-EB12-4E2C-AFE3-B53F0DCF78AB}"/>
              </a:ext>
            </a:extLst>
          </p:cNvPr>
          <p:cNvSpPr txBox="1"/>
          <p:nvPr/>
        </p:nvSpPr>
        <p:spPr>
          <a:xfrm>
            <a:off x="1733879" y="3838035"/>
            <a:ext cx="97654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8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FUN</a:t>
            </a:r>
            <a:endParaRPr kumimoji="1" lang="ja-JP" altLang="en-US" sz="2800" b="1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75A5B86B-A14A-42DB-BD29-CF4D093C1619}"/>
              </a:ext>
            </a:extLst>
          </p:cNvPr>
          <p:cNvSpPr txBox="1"/>
          <p:nvPr/>
        </p:nvSpPr>
        <p:spPr>
          <a:xfrm>
            <a:off x="179512" y="3259540"/>
            <a:ext cx="90411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歩く</a:t>
            </a: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</a:rPr>
              <a:t>(WALK)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」に「楽しい</a:t>
            </a: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</a:rPr>
              <a:t>(FUN)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」を組み合わせ、自然と歩く習慣を身につけます</a:t>
            </a:r>
            <a:endParaRPr kumimoji="1"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15" name="図 14">
            <a:extLst>
              <a:ext uri="{FF2B5EF4-FFF2-40B4-BE49-F238E27FC236}">
                <a16:creationId xmlns:a16="http://schemas.microsoft.com/office/drawing/2014/main" id="{D719CA5F-08B1-40C1-BCC2-C88DCB75DA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1554" y="292708"/>
            <a:ext cx="4239264" cy="924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5490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">
            <a:extLst>
              <a:ext uri="{FF2B5EF4-FFF2-40B4-BE49-F238E27FC236}">
                <a16:creationId xmlns:a16="http://schemas.microsoft.com/office/drawing/2014/main" id="{5B81125F-49BE-82C0-A570-0699A7F702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78148"/>
            <a:ext cx="4545732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</a:t>
            </a:r>
            <a:r>
              <a:rPr lang="ja-JP" altLang="en-US" sz="2800" dirty="0"/>
              <a:t>とは？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8AEFCDF-990B-74E2-70E3-A8CA655E069C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B</a:t>
            </a:r>
            <a:endParaRPr lang="en-US" sz="3600" dirty="0"/>
          </a:p>
        </p:txBody>
      </p:sp>
      <p:cxnSp>
        <p:nvCxnSpPr>
          <p:cNvPr id="2" name="直線コネクタ 1">
            <a:extLst>
              <a:ext uri="{FF2B5EF4-FFF2-40B4-BE49-F238E27FC236}">
                <a16:creationId xmlns:a16="http://schemas.microsoft.com/office/drawing/2014/main" id="{2AFA6782-3AA9-5F28-48E4-B580429BDF2E}"/>
              </a:ext>
            </a:extLst>
          </p:cNvPr>
          <p:cNvCxnSpPr>
            <a:cxnSpLocks/>
          </p:cNvCxnSpPr>
          <p:nvPr/>
        </p:nvCxnSpPr>
        <p:spPr>
          <a:xfrm>
            <a:off x="3347864" y="1268760"/>
            <a:ext cx="0" cy="5184576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2F8C6E06-C420-3666-9631-18555375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541997"/>
            <a:ext cx="2118365" cy="4479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A24C5C7-7F8B-6F54-33D7-30C9170BCC52}"/>
              </a:ext>
            </a:extLst>
          </p:cNvPr>
          <p:cNvSpPr txBox="1"/>
          <p:nvPr/>
        </p:nvSpPr>
        <p:spPr>
          <a:xfrm>
            <a:off x="3510136" y="1560721"/>
            <a:ext cx="516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ja-JP" altLang="en-US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好きなご当地キャラを変身させたり、おトクなクーポンを</a:t>
            </a:r>
            <a:r>
              <a:rPr lang="en-US" altLang="ja-JP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GET</a:t>
            </a:r>
            <a:r>
              <a:rPr lang="ja-JP" altLang="en-US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したり。「歩く」がもっと楽しくなるアプリです。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8ADA6263-DDD6-B475-66A3-AB72A2372301}"/>
              </a:ext>
            </a:extLst>
          </p:cNvPr>
          <p:cNvSpPr txBox="1"/>
          <p:nvPr/>
        </p:nvSpPr>
        <p:spPr>
          <a:xfrm>
            <a:off x="3510136" y="2975720"/>
            <a:ext cx="5166316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FUN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WALK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アプリは、歩くことをもっと楽しく、楽しいことをもっと健康的なものに変えていくスポーツ庁の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『FUN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WALK PROJECT』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をサポートするアプリ</a:t>
            </a:r>
            <a:r>
              <a:rPr lang="ja-JP" altLang="en-US" dirty="0">
                <a:solidFill>
                  <a:srgbClr val="333333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です。</a:t>
            </a:r>
            <a:endParaRPr lang="en-US" altLang="ja-JP" dirty="0">
              <a:solidFill>
                <a:srgbClr val="333333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dirty="0">
              <a:solidFill>
                <a:srgbClr val="333333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1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日の歩数にあわせて、ご当地キャラがどんどん変身したり、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1000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歩ごとにたまるポイントを、</a:t>
            </a:r>
            <a:endParaRPr lang="en-US" altLang="ja-JP" b="0" i="0" dirty="0">
              <a:solidFill>
                <a:srgbClr val="333333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様々な割引クーポンと交換したりすることが可能な、もっと歩きたくなる仕掛けが、たくさん詰まったアプリです。</a:t>
            </a:r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638985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691680" y="621088"/>
            <a:ext cx="6912768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2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4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4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</a:t>
            </a:r>
            <a:endParaRPr lang="en-US" altLang="ja-JP" sz="4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4400" dirty="0">
                <a:solidFill>
                  <a:srgbClr val="009650"/>
                </a:solidFill>
              </a:rPr>
              <a:t>準備をしましょう</a:t>
            </a:r>
            <a:endParaRPr lang="en-US" altLang="ja-JP" sz="4400" dirty="0">
              <a:solidFill>
                <a:srgbClr val="0096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85756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">
            <a:extLst>
              <a:ext uri="{FF2B5EF4-FFF2-40B4-BE49-F238E27FC236}">
                <a16:creationId xmlns:a16="http://schemas.microsoft.com/office/drawing/2014/main" id="{5B81125F-49BE-82C0-A570-0699A7F702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6818790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latin typeface="Meiryo" charset="-128"/>
                <a:ea typeface="Meiryo" charset="-128"/>
                <a:cs typeface="Meiryo" charset="-128"/>
              </a:rPr>
              <a:t>FUN+WALK </a:t>
            </a:r>
            <a:r>
              <a:rPr lang="ja-JP" altLang="en-US" sz="2800" b="1" dirty="0">
                <a:latin typeface="Meiryo" charset="-128"/>
                <a:ea typeface="Meiryo" charset="-128"/>
                <a:cs typeface="Meiryo" charset="-128"/>
              </a:rPr>
              <a:t>アプリのインストール方法</a:t>
            </a:r>
            <a:endParaRPr lang="ja-JP" altLang="en-US" sz="44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8AEFCDF-990B-74E2-70E3-A8CA655E069C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D93CBDE2-2A36-8D48-154D-F607B0DB7F3E}"/>
              </a:ext>
            </a:extLst>
          </p:cNvPr>
          <p:cNvSpPr txBox="1"/>
          <p:nvPr/>
        </p:nvSpPr>
        <p:spPr>
          <a:xfrm>
            <a:off x="1767718" y="914906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  <p:pic>
        <p:nvPicPr>
          <p:cNvPr id="33" name="図 32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D5A93C52-B71F-5803-9B8E-18D90B205F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5950" y="3080391"/>
            <a:ext cx="1381894" cy="287126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E89F3741-1349-B136-D5C7-0ED00F21B59B}"/>
              </a:ext>
            </a:extLst>
          </p:cNvPr>
          <p:cNvSpPr/>
          <p:nvPr/>
        </p:nvSpPr>
        <p:spPr>
          <a:xfrm>
            <a:off x="2794387" y="3113555"/>
            <a:ext cx="1057533" cy="31544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37" name="図 36" descr="テーブル&#10;&#10;自動的に生成された説明">
            <a:extLst>
              <a:ext uri="{FF2B5EF4-FFF2-40B4-BE49-F238E27FC236}">
                <a16:creationId xmlns:a16="http://schemas.microsoft.com/office/drawing/2014/main" id="{0EB5FC7D-56C7-6A64-DB63-D15C8B66C65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98"/>
          <a:stretch/>
        </p:blipFill>
        <p:spPr>
          <a:xfrm>
            <a:off x="4979814" y="3077494"/>
            <a:ext cx="1381894" cy="28656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8" name="図 3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228BDF47-569E-FB7D-F943-27430BC30D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83679" y="3077494"/>
            <a:ext cx="1379165" cy="28656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9" name="Picture 2">
            <a:extLst>
              <a:ext uri="{FF2B5EF4-FFF2-40B4-BE49-F238E27FC236}">
                <a16:creationId xmlns:a16="http://schemas.microsoft.com/office/drawing/2014/main" id="{2872B2B0-B0E8-7DF4-1B42-852EDA8F44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848" y="3075968"/>
            <a:ext cx="1381132" cy="2867126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B5ADDF30-0CA0-8F2B-9B44-2D1B19DCD547}"/>
              </a:ext>
            </a:extLst>
          </p:cNvPr>
          <p:cNvSpPr txBox="1"/>
          <p:nvPr/>
        </p:nvSpPr>
        <p:spPr>
          <a:xfrm>
            <a:off x="107504" y="1963358"/>
            <a:ext cx="647342" cy="6144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C6C927C3-C5A9-4239-9B32-B5AD3548C560}"/>
              </a:ext>
            </a:extLst>
          </p:cNvPr>
          <p:cNvSpPr/>
          <p:nvPr/>
        </p:nvSpPr>
        <p:spPr>
          <a:xfrm>
            <a:off x="1284684" y="3789040"/>
            <a:ext cx="291633" cy="31544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C7FC0D2A-17F0-414B-2963-80F269E535FF}"/>
              </a:ext>
            </a:extLst>
          </p:cNvPr>
          <p:cNvSpPr txBox="1"/>
          <p:nvPr/>
        </p:nvSpPr>
        <p:spPr>
          <a:xfrm>
            <a:off x="2267744" y="1963358"/>
            <a:ext cx="235453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アプリやゲームを</a:t>
            </a:r>
          </a:p>
          <a:p>
            <a:r>
              <a:rPr lang="ja-JP" altLang="en-US" sz="1600" b="1">
                <a:latin typeface="Meiryo" charset="-128"/>
                <a:ea typeface="Meiryo" charset="-128"/>
                <a:cs typeface="Meiryo" charset="-128"/>
              </a:rPr>
              <a:t>   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検索」を押す</a:t>
            </a:r>
          </a:p>
          <a:p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81A553AA-DC9B-2CD4-5C6F-4FCD59E21770}"/>
              </a:ext>
            </a:extLst>
          </p:cNvPr>
          <p:cNvSpPr txBox="1"/>
          <p:nvPr/>
        </p:nvSpPr>
        <p:spPr>
          <a:xfrm>
            <a:off x="4449547" y="1922609"/>
            <a:ext cx="23946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</a:t>
            </a:r>
            <a:r>
              <a:rPr lang="en-US" altLang="ja-JP" sz="1600" b="1" dirty="0" err="1"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」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　と入力して検索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44" name="図 43">
            <a:extLst>
              <a:ext uri="{FF2B5EF4-FFF2-40B4-BE49-F238E27FC236}">
                <a16:creationId xmlns:a16="http://schemas.microsoft.com/office/drawing/2014/main" id="{3E300403-3C78-E900-99F3-9BC05ECD938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5482" t="5343" r="15773" b="27506"/>
          <a:stretch/>
        </p:blipFill>
        <p:spPr>
          <a:xfrm>
            <a:off x="779359" y="2508200"/>
            <a:ext cx="294545" cy="306086"/>
          </a:xfrm>
          <a:prstGeom prst="ellips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</p:pic>
      <p:sp>
        <p:nvSpPr>
          <p:cNvPr id="45" name="テキスト ボックス 44">
            <a:extLst>
              <a:ext uri="{FF2B5EF4-FFF2-40B4-BE49-F238E27FC236}">
                <a16:creationId xmlns:a16="http://schemas.microsoft.com/office/drawing/2014/main" id="{BF7404AB-9AD4-F0B8-F42F-9483382CC18F}"/>
              </a:ext>
            </a:extLst>
          </p:cNvPr>
          <p:cNvSpPr txBox="1"/>
          <p:nvPr/>
        </p:nvSpPr>
        <p:spPr>
          <a:xfrm>
            <a:off x="6660232" y="1922609"/>
            <a:ext cx="229432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インストール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endParaRPr lang="en-US" altLang="ja-JP" sz="1600" b="1" spc="-750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　　　　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13C68197-9963-913E-5D76-9440882574D7}"/>
              </a:ext>
            </a:extLst>
          </p:cNvPr>
          <p:cNvSpPr/>
          <p:nvPr/>
        </p:nvSpPr>
        <p:spPr>
          <a:xfrm>
            <a:off x="4979814" y="3290435"/>
            <a:ext cx="1381894" cy="25241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47" name="グループ化 46">
            <a:extLst>
              <a:ext uri="{FF2B5EF4-FFF2-40B4-BE49-F238E27FC236}">
                <a16:creationId xmlns:a16="http://schemas.microsoft.com/office/drawing/2014/main" id="{DDD1F148-F1BC-AA26-FC7B-B3DE8E09B27F}"/>
              </a:ext>
            </a:extLst>
          </p:cNvPr>
          <p:cNvGrpSpPr/>
          <p:nvPr/>
        </p:nvGrpSpPr>
        <p:grpSpPr>
          <a:xfrm>
            <a:off x="4766290" y="3111351"/>
            <a:ext cx="492444" cy="461665"/>
            <a:chOff x="10718372" y="2977010"/>
            <a:chExt cx="492444" cy="461665"/>
          </a:xfrm>
        </p:grpSpPr>
        <p:sp>
          <p:nvSpPr>
            <p:cNvPr id="48" name="円/楕円 40">
              <a:extLst>
                <a:ext uri="{FF2B5EF4-FFF2-40B4-BE49-F238E27FC236}">
                  <a16:creationId xmlns:a16="http://schemas.microsoft.com/office/drawing/2014/main" id="{FA5E6B04-EAA5-83B1-B8F4-740FDE9159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66526" y="3080507"/>
              <a:ext cx="196137" cy="1920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49" name="図形グループ 39">
              <a:extLst>
                <a:ext uri="{FF2B5EF4-FFF2-40B4-BE49-F238E27FC236}">
                  <a16:creationId xmlns:a16="http://schemas.microsoft.com/office/drawing/2014/main" id="{4D35AEED-CD2B-0E6C-0B41-47BDCA300934}"/>
                </a:ext>
              </a:extLst>
            </p:cNvPr>
            <p:cNvGrpSpPr/>
            <p:nvPr/>
          </p:nvGrpSpPr>
          <p:grpSpPr>
            <a:xfrm>
              <a:off x="10718372" y="2977010"/>
              <a:ext cx="492444" cy="461665"/>
              <a:chOff x="7523571" y="2661581"/>
              <a:chExt cx="492444" cy="461665"/>
            </a:xfrm>
          </p:grpSpPr>
          <p:sp>
            <p:nvSpPr>
              <p:cNvPr id="50" name="円/楕円 44">
                <a:extLst>
                  <a:ext uri="{FF2B5EF4-FFF2-40B4-BE49-F238E27FC236}">
                    <a16:creationId xmlns:a16="http://schemas.microsoft.com/office/drawing/2014/main" id="{BCBD3643-8818-C0C1-A2B0-246AE8816AD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51" name="正方形/長方形 50">
                <a:extLst>
                  <a:ext uri="{FF2B5EF4-FFF2-40B4-BE49-F238E27FC236}">
                    <a16:creationId xmlns:a16="http://schemas.microsoft.com/office/drawing/2014/main" id="{75CF8BB6-B279-90CA-A4E8-70294FF69001}"/>
                  </a:ext>
                </a:extLst>
              </p:cNvPr>
              <p:cNvSpPr/>
              <p:nvPr/>
            </p:nvSpPr>
            <p:spPr>
              <a:xfrm>
                <a:off x="7523571" y="2661581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sp>
        <p:nvSpPr>
          <p:cNvPr id="52" name="正方形/長方形 51">
            <a:extLst>
              <a:ext uri="{FF2B5EF4-FFF2-40B4-BE49-F238E27FC236}">
                <a16:creationId xmlns:a16="http://schemas.microsoft.com/office/drawing/2014/main" id="{F0FB2D1C-3516-BFBF-F824-61CD3F1ADF90}"/>
              </a:ext>
            </a:extLst>
          </p:cNvPr>
          <p:cNvSpPr/>
          <p:nvPr/>
        </p:nvSpPr>
        <p:spPr>
          <a:xfrm>
            <a:off x="8119833" y="3356992"/>
            <a:ext cx="423961" cy="26572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3" name="図形グループ 36">
            <a:extLst>
              <a:ext uri="{FF2B5EF4-FFF2-40B4-BE49-F238E27FC236}">
                <a16:creationId xmlns:a16="http://schemas.microsoft.com/office/drawing/2014/main" id="{3E5A047C-CC92-CBDD-9FED-0289CB36D9A5}"/>
              </a:ext>
            </a:extLst>
          </p:cNvPr>
          <p:cNvGrpSpPr/>
          <p:nvPr/>
        </p:nvGrpSpPr>
        <p:grpSpPr>
          <a:xfrm>
            <a:off x="6736888" y="3100519"/>
            <a:ext cx="1528996" cy="1335788"/>
            <a:chOff x="7627502" y="1668694"/>
            <a:chExt cx="1528996" cy="1335788"/>
          </a:xfrm>
        </p:grpSpPr>
        <p:sp>
          <p:nvSpPr>
            <p:cNvPr id="54" name="円/楕円 37">
              <a:extLst>
                <a:ext uri="{FF2B5EF4-FFF2-40B4-BE49-F238E27FC236}">
                  <a16:creationId xmlns:a16="http://schemas.microsoft.com/office/drawing/2014/main" id="{9DC1EEA2-3420-DDF7-8E28-54B546756A6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5" name="正方形/長方形 54">
              <a:extLst>
                <a:ext uri="{FF2B5EF4-FFF2-40B4-BE49-F238E27FC236}">
                  <a16:creationId xmlns:a16="http://schemas.microsoft.com/office/drawing/2014/main" id="{7A32B346-8198-BC48-8B0C-B0324BEE282D}"/>
                </a:ext>
              </a:extLst>
            </p:cNvPr>
            <p:cNvSpPr/>
            <p:nvPr/>
          </p:nvSpPr>
          <p:spPr>
            <a:xfrm>
              <a:off x="8664055" y="1668694"/>
              <a:ext cx="49244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❹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6" name="図形グループ 79">
            <a:extLst>
              <a:ext uri="{FF2B5EF4-FFF2-40B4-BE49-F238E27FC236}">
                <a16:creationId xmlns:a16="http://schemas.microsoft.com/office/drawing/2014/main" id="{ED7CC2B3-D14A-1015-F38E-358DD1518173}"/>
              </a:ext>
            </a:extLst>
          </p:cNvPr>
          <p:cNvGrpSpPr/>
          <p:nvPr/>
        </p:nvGrpSpPr>
        <p:grpSpPr>
          <a:xfrm>
            <a:off x="971600" y="3501008"/>
            <a:ext cx="492443" cy="461665"/>
            <a:chOff x="7516281" y="2673548"/>
            <a:chExt cx="492443" cy="461665"/>
          </a:xfrm>
        </p:grpSpPr>
        <p:sp>
          <p:nvSpPr>
            <p:cNvPr id="57" name="円/楕円 80">
              <a:extLst>
                <a:ext uri="{FF2B5EF4-FFF2-40B4-BE49-F238E27FC236}">
                  <a16:creationId xmlns:a16="http://schemas.microsoft.com/office/drawing/2014/main" id="{4874BEA5-B2A2-8808-853A-F676D7A7BB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8" name="正方形/長方形 57">
              <a:extLst>
                <a:ext uri="{FF2B5EF4-FFF2-40B4-BE49-F238E27FC236}">
                  <a16:creationId xmlns:a16="http://schemas.microsoft.com/office/drawing/2014/main" id="{2882E0BD-ECCB-28DA-4E8A-06135F4DB54A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59" name="テキスト ボックス 58">
            <a:extLst>
              <a:ext uri="{FF2B5EF4-FFF2-40B4-BE49-F238E27FC236}">
                <a16:creationId xmlns:a16="http://schemas.microsoft.com/office/drawing/2014/main" id="{01CD9A3D-3CB1-ED62-F629-2759E32B0E64}"/>
              </a:ext>
            </a:extLst>
          </p:cNvPr>
          <p:cNvSpPr txBox="1"/>
          <p:nvPr/>
        </p:nvSpPr>
        <p:spPr>
          <a:xfrm>
            <a:off x="467544" y="1898829"/>
            <a:ext cx="20057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ホーム画面で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Play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ストア」　　「　  」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0" name="サブタイトル 2">
            <a:extLst>
              <a:ext uri="{FF2B5EF4-FFF2-40B4-BE49-F238E27FC236}">
                <a16:creationId xmlns:a16="http://schemas.microsoft.com/office/drawing/2014/main" id="{67B90D6C-AA17-C9A2-6598-3304F94230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271" y="1433732"/>
            <a:ext cx="8172000" cy="396000"/>
          </a:xfrm>
        </p:spPr>
        <p:txBody>
          <a:bodyPr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をインストールします。</a:t>
            </a:r>
          </a:p>
        </p:txBody>
      </p:sp>
      <p:grpSp>
        <p:nvGrpSpPr>
          <p:cNvPr id="61" name="図形グループ 57">
            <a:extLst>
              <a:ext uri="{FF2B5EF4-FFF2-40B4-BE49-F238E27FC236}">
                <a16:creationId xmlns:a16="http://schemas.microsoft.com/office/drawing/2014/main" id="{D6D1C9A9-510E-6016-C67D-4D2FA7667264}"/>
              </a:ext>
            </a:extLst>
          </p:cNvPr>
          <p:cNvGrpSpPr/>
          <p:nvPr/>
        </p:nvGrpSpPr>
        <p:grpSpPr>
          <a:xfrm>
            <a:off x="2372703" y="2820258"/>
            <a:ext cx="492443" cy="461665"/>
            <a:chOff x="7516281" y="2673548"/>
            <a:chExt cx="492443" cy="461665"/>
          </a:xfrm>
        </p:grpSpPr>
        <p:sp>
          <p:nvSpPr>
            <p:cNvPr id="62" name="円/楕円 59">
              <a:extLst>
                <a:ext uri="{FF2B5EF4-FFF2-40B4-BE49-F238E27FC236}">
                  <a16:creationId xmlns:a16="http://schemas.microsoft.com/office/drawing/2014/main" id="{B8CE5F86-BB11-E251-23A8-693F860AE8D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3" name="正方形/長方形 62">
              <a:extLst>
                <a:ext uri="{FF2B5EF4-FFF2-40B4-BE49-F238E27FC236}">
                  <a16:creationId xmlns:a16="http://schemas.microsoft.com/office/drawing/2014/main" id="{A1973BF3-973D-C362-D190-2E769C308146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64" name="図 63">
            <a:extLst>
              <a:ext uri="{FF2B5EF4-FFF2-40B4-BE49-F238E27FC236}">
                <a16:creationId xmlns:a16="http://schemas.microsoft.com/office/drawing/2014/main" id="{63695A54-64CF-F0FC-18E0-94F68E862C6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43872" y="3193317"/>
            <a:ext cx="191275" cy="18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2247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電源が入っているスマートフォンの画面の画像">
            <a:extLst>
              <a:ext uri="{FF2B5EF4-FFF2-40B4-BE49-F238E27FC236}">
                <a16:creationId xmlns:a16="http://schemas.microsoft.com/office/drawing/2014/main" id="{6F9420DA-0710-6AD2-6DC1-3B65CCE93FE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" b="22922"/>
          <a:stretch/>
        </p:blipFill>
        <p:spPr>
          <a:xfrm>
            <a:off x="6898592" y="2798664"/>
            <a:ext cx="1718681" cy="2502544"/>
          </a:xfrm>
          <a:prstGeom prst="rect">
            <a:avLst/>
          </a:prstGeom>
        </p:spPr>
      </p:pic>
      <p:sp>
        <p:nvSpPr>
          <p:cNvPr id="4" name="四角形: 上の 2 つの角を丸める 3">
            <a:extLst>
              <a:ext uri="{FF2B5EF4-FFF2-40B4-BE49-F238E27FC236}">
                <a16:creationId xmlns:a16="http://schemas.microsoft.com/office/drawing/2014/main" id="{0D8F3462-B7D0-D2D6-C99F-79D20BC4AC6A}"/>
              </a:ext>
            </a:extLst>
          </p:cNvPr>
          <p:cNvSpPr/>
          <p:nvPr/>
        </p:nvSpPr>
        <p:spPr>
          <a:xfrm>
            <a:off x="7058801" y="2922778"/>
            <a:ext cx="1375853" cy="1355478"/>
          </a:xfrm>
          <a:prstGeom prst="round2SameRect">
            <a:avLst>
              <a:gd name="adj1" fmla="val 12598"/>
              <a:gd name="adj2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88" name="図 8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5CAA24F4-57FB-1804-D865-4F2CF8CDEE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530" b="18951"/>
          <a:stretch/>
        </p:blipFill>
        <p:spPr>
          <a:xfrm>
            <a:off x="7071501" y="3037942"/>
            <a:ext cx="1366659" cy="2263266"/>
          </a:xfrm>
          <a:prstGeom prst="rect">
            <a:avLst/>
          </a:prstGeom>
          <a:ln>
            <a:noFill/>
          </a:ln>
        </p:spPr>
      </p:pic>
      <p:pic>
        <p:nvPicPr>
          <p:cNvPr id="31" name="図 30" descr="電源が入っているスマートフォンの画面の画像">
            <a:extLst>
              <a:ext uri="{FF2B5EF4-FFF2-40B4-BE49-F238E27FC236}">
                <a16:creationId xmlns:a16="http://schemas.microsoft.com/office/drawing/2014/main" id="{D3D1B6D2-0267-4EDE-FD9C-39BDAA6CD98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62160"/>
          <a:stretch/>
        </p:blipFill>
        <p:spPr>
          <a:xfrm>
            <a:off x="4669663" y="4365104"/>
            <a:ext cx="1718681" cy="1228589"/>
          </a:xfrm>
          <a:prstGeom prst="rect">
            <a:avLst/>
          </a:prstGeom>
        </p:spPr>
      </p:pic>
      <p:sp>
        <p:nvSpPr>
          <p:cNvPr id="32" name="四角形: 上の 2 つの角を丸める 31">
            <a:extLst>
              <a:ext uri="{FF2B5EF4-FFF2-40B4-BE49-F238E27FC236}">
                <a16:creationId xmlns:a16="http://schemas.microsoft.com/office/drawing/2014/main" id="{7BF9F3B5-7087-6416-5898-F3FB75DCD0A6}"/>
              </a:ext>
            </a:extLst>
          </p:cNvPr>
          <p:cNvSpPr/>
          <p:nvPr/>
        </p:nvSpPr>
        <p:spPr>
          <a:xfrm>
            <a:off x="4829872" y="4489218"/>
            <a:ext cx="1375853" cy="1104475"/>
          </a:xfrm>
          <a:prstGeom prst="round2SameRect">
            <a:avLst>
              <a:gd name="adj1" fmla="val 12598"/>
              <a:gd name="adj2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87" name="図 86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1E86AB2F-5C73-F3D6-604D-16DFC9DDBAE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4615" b="67079"/>
          <a:stretch/>
        </p:blipFill>
        <p:spPr>
          <a:xfrm>
            <a:off x="4829872" y="4581128"/>
            <a:ext cx="1376316" cy="843140"/>
          </a:xfrm>
          <a:prstGeom prst="rect">
            <a:avLst/>
          </a:prstGeom>
          <a:ln>
            <a:noFill/>
          </a:ln>
        </p:spPr>
      </p:pic>
      <p:sp>
        <p:nvSpPr>
          <p:cNvPr id="10" name="タイトル 1">
            <a:extLst>
              <a:ext uri="{FF2B5EF4-FFF2-40B4-BE49-F238E27FC236}">
                <a16:creationId xmlns:a16="http://schemas.microsoft.com/office/drawing/2014/main" id="{5B81125F-49BE-82C0-A570-0699A7F702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6818790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latin typeface="Meiryo" charset="-128"/>
                <a:ea typeface="Meiryo" charset="-128"/>
                <a:cs typeface="Meiryo" charset="-128"/>
              </a:rPr>
              <a:t>FUN+WALK </a:t>
            </a:r>
            <a:r>
              <a:rPr lang="ja-JP" altLang="en-US" sz="2800" b="1" dirty="0">
                <a:latin typeface="Meiryo" charset="-128"/>
                <a:ea typeface="Meiryo" charset="-128"/>
                <a:cs typeface="Meiryo" charset="-128"/>
              </a:rPr>
              <a:t>アプリのインストール方法</a:t>
            </a:r>
            <a:endParaRPr lang="ja-JP" altLang="en-US" sz="44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8AEFCDF-990B-74E2-70E3-A8CA655E069C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D93CBDE2-2A36-8D48-154D-F607B0DB7F3E}"/>
              </a:ext>
            </a:extLst>
          </p:cNvPr>
          <p:cNvSpPr txBox="1"/>
          <p:nvPr/>
        </p:nvSpPr>
        <p:spPr>
          <a:xfrm>
            <a:off x="1767718" y="914906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78F3AA57-0473-FA9E-F092-424A343125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271" y="1433732"/>
            <a:ext cx="8172000" cy="396000"/>
          </a:xfrm>
        </p:spPr>
        <p:txBody>
          <a:bodyPr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をインストールします。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4BCA9C1B-B1C5-9DC8-FF9E-6BCD35278E22}"/>
              </a:ext>
            </a:extLst>
          </p:cNvPr>
          <p:cNvSpPr txBox="1"/>
          <p:nvPr/>
        </p:nvSpPr>
        <p:spPr>
          <a:xfrm>
            <a:off x="288293" y="1882800"/>
            <a:ext cx="395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3" name="図 12" descr="電源が入っているスマートフォンの画面の画像">
            <a:extLst>
              <a:ext uri="{FF2B5EF4-FFF2-40B4-BE49-F238E27FC236}">
                <a16:creationId xmlns:a16="http://schemas.microsoft.com/office/drawing/2014/main" id="{B84A5A0D-23DA-8B38-E8A9-92AC6443E1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560" y="2817312"/>
            <a:ext cx="1505428" cy="2843936"/>
          </a:xfrm>
          <a:prstGeom prst="rect">
            <a:avLst/>
          </a:prstGeom>
        </p:spPr>
      </p:pic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A6F8C703-C7FF-34B4-181F-496F3344F8DA}"/>
              </a:ext>
            </a:extLst>
          </p:cNvPr>
          <p:cNvSpPr/>
          <p:nvPr/>
        </p:nvSpPr>
        <p:spPr>
          <a:xfrm>
            <a:off x="765443" y="4033856"/>
            <a:ext cx="343857" cy="32723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5" name="図形グループ 79">
            <a:extLst>
              <a:ext uri="{FF2B5EF4-FFF2-40B4-BE49-F238E27FC236}">
                <a16:creationId xmlns:a16="http://schemas.microsoft.com/office/drawing/2014/main" id="{F46CEA75-3F09-DEA7-76A2-B0CB826AADA0}"/>
              </a:ext>
            </a:extLst>
          </p:cNvPr>
          <p:cNvGrpSpPr/>
          <p:nvPr/>
        </p:nvGrpSpPr>
        <p:grpSpPr>
          <a:xfrm>
            <a:off x="501521" y="3815804"/>
            <a:ext cx="492443" cy="461665"/>
            <a:chOff x="7516281" y="2673548"/>
            <a:chExt cx="492443" cy="461665"/>
          </a:xfrm>
        </p:grpSpPr>
        <p:sp>
          <p:nvSpPr>
            <p:cNvPr id="16" name="円/楕円 80">
              <a:extLst>
                <a:ext uri="{FF2B5EF4-FFF2-40B4-BE49-F238E27FC236}">
                  <a16:creationId xmlns:a16="http://schemas.microsoft.com/office/drawing/2014/main" id="{9DC7FF28-48DE-9010-A9DE-6D3FDE3E58F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7" name="正方形/長方形 16">
              <a:extLst>
                <a:ext uri="{FF2B5EF4-FFF2-40B4-BE49-F238E27FC236}">
                  <a16:creationId xmlns:a16="http://schemas.microsoft.com/office/drawing/2014/main" id="{207BB03F-7048-80F6-FCCF-410F6ED0B354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18" name="図 17" descr="電源が入っているスマートフォンの画面の画像">
            <a:extLst>
              <a:ext uri="{FF2B5EF4-FFF2-40B4-BE49-F238E27FC236}">
                <a16:creationId xmlns:a16="http://schemas.microsoft.com/office/drawing/2014/main" id="{61A90DE6-2A19-7CCD-FF3F-0C6C7E41B7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27784" y="2798663"/>
            <a:ext cx="1515299" cy="2862585"/>
          </a:xfrm>
          <a:prstGeom prst="roundRect">
            <a:avLst>
              <a:gd name="adj" fmla="val 20133"/>
            </a:avLst>
          </a:prstGeom>
        </p:spPr>
      </p:pic>
      <p:pic>
        <p:nvPicPr>
          <p:cNvPr id="19" name="図 18" descr="検索アイコンがある画面の画像">
            <a:extLst>
              <a:ext uri="{FF2B5EF4-FFF2-40B4-BE49-F238E27FC236}">
                <a16:creationId xmlns:a16="http://schemas.microsoft.com/office/drawing/2014/main" id="{630F6BA1-0D85-863F-BF6D-920D6BCD7D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6340" y="2924944"/>
            <a:ext cx="1201032" cy="2583944"/>
          </a:xfrm>
          <a:prstGeom prst="roundRect">
            <a:avLst>
              <a:gd name="adj" fmla="val 11133"/>
            </a:avLst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</p:pic>
      <p:sp>
        <p:nvSpPr>
          <p:cNvPr id="20" name="四角形: 上の 2 つの角を丸める 19">
            <a:extLst>
              <a:ext uri="{FF2B5EF4-FFF2-40B4-BE49-F238E27FC236}">
                <a16:creationId xmlns:a16="http://schemas.microsoft.com/office/drawing/2014/main" id="{68B7CB26-C598-848B-DB48-308F6F871F87}"/>
              </a:ext>
            </a:extLst>
          </p:cNvPr>
          <p:cNvSpPr/>
          <p:nvPr/>
        </p:nvSpPr>
        <p:spPr>
          <a:xfrm rot="10800000">
            <a:off x="3096507" y="2924944"/>
            <a:ext cx="577852" cy="12083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48D5D7D4-5864-81B9-3AA7-C9B0F1A8098B}"/>
              </a:ext>
            </a:extLst>
          </p:cNvPr>
          <p:cNvSpPr txBox="1"/>
          <p:nvPr/>
        </p:nvSpPr>
        <p:spPr>
          <a:xfrm>
            <a:off x="2503995" y="1882800"/>
            <a:ext cx="19239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-16" dirty="0">
                <a:latin typeface="Meiryo" charset="-128"/>
                <a:ea typeface="Meiryo" charset="-128"/>
                <a:cs typeface="AoyagiKouzanFontT"/>
              </a:rPr>
              <a:t>　　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E41B5C09-C402-28F5-8A15-51881F426E0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2292" y="1970696"/>
            <a:ext cx="261389" cy="40042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5BFB8DF7-D0BA-A49C-01C4-E8F595253767}"/>
              </a:ext>
            </a:extLst>
          </p:cNvPr>
          <p:cNvSpPr/>
          <p:nvPr/>
        </p:nvSpPr>
        <p:spPr>
          <a:xfrm>
            <a:off x="3707904" y="5301208"/>
            <a:ext cx="258254" cy="20768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4" name="図形グループ 72">
            <a:extLst>
              <a:ext uri="{FF2B5EF4-FFF2-40B4-BE49-F238E27FC236}">
                <a16:creationId xmlns:a16="http://schemas.microsoft.com/office/drawing/2014/main" id="{27233023-8111-C0E5-7EA7-783E2F3C6480}"/>
              </a:ext>
            </a:extLst>
          </p:cNvPr>
          <p:cNvGrpSpPr/>
          <p:nvPr/>
        </p:nvGrpSpPr>
        <p:grpSpPr>
          <a:xfrm>
            <a:off x="3415266" y="5047223"/>
            <a:ext cx="492443" cy="461665"/>
            <a:chOff x="7516281" y="2673548"/>
            <a:chExt cx="492443" cy="461665"/>
          </a:xfrm>
        </p:grpSpPr>
        <p:sp>
          <p:nvSpPr>
            <p:cNvPr id="25" name="円/楕円 77">
              <a:extLst>
                <a:ext uri="{FF2B5EF4-FFF2-40B4-BE49-F238E27FC236}">
                  <a16:creationId xmlns:a16="http://schemas.microsoft.com/office/drawing/2014/main" id="{B80C1152-0C7B-D9AA-06FD-4B1D0711246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6" name="正方形/長方形 25">
              <a:extLst>
                <a:ext uri="{FF2B5EF4-FFF2-40B4-BE49-F238E27FC236}">
                  <a16:creationId xmlns:a16="http://schemas.microsoft.com/office/drawing/2014/main" id="{F9E60F36-7B5C-1FC4-3E37-81E638469B25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27" name="図 26" descr="電源が入っているスマートフォンの画面の画像">
            <a:extLst>
              <a:ext uri="{FF2B5EF4-FFF2-40B4-BE49-F238E27FC236}">
                <a16:creationId xmlns:a16="http://schemas.microsoft.com/office/drawing/2014/main" id="{E9977C09-BA99-12F7-C407-A48453FA25A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54429"/>
          <a:stretch/>
        </p:blipFill>
        <p:spPr>
          <a:xfrm>
            <a:off x="4669663" y="2798663"/>
            <a:ext cx="1718681" cy="1479593"/>
          </a:xfrm>
          <a:prstGeom prst="rect">
            <a:avLst/>
          </a:prstGeom>
        </p:spPr>
      </p:pic>
      <p:sp>
        <p:nvSpPr>
          <p:cNvPr id="28" name="四角形: 上の 2 つの角を丸める 27">
            <a:extLst>
              <a:ext uri="{FF2B5EF4-FFF2-40B4-BE49-F238E27FC236}">
                <a16:creationId xmlns:a16="http://schemas.microsoft.com/office/drawing/2014/main" id="{5CBA861A-881F-250C-755E-2BF6C572DE48}"/>
              </a:ext>
            </a:extLst>
          </p:cNvPr>
          <p:cNvSpPr/>
          <p:nvPr/>
        </p:nvSpPr>
        <p:spPr>
          <a:xfrm>
            <a:off x="4829872" y="2922778"/>
            <a:ext cx="1375853" cy="1355478"/>
          </a:xfrm>
          <a:prstGeom prst="round2SameRect">
            <a:avLst>
              <a:gd name="adj1" fmla="val 12598"/>
              <a:gd name="adj2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29" name="図 28" descr="検索画面の画像">
            <a:extLst>
              <a:ext uri="{FF2B5EF4-FFF2-40B4-BE49-F238E27FC236}">
                <a16:creationId xmlns:a16="http://schemas.microsoft.com/office/drawing/2014/main" id="{DCAB36EC-DAE4-7BCC-F51F-3984B2749EF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51547"/>
          <a:stretch/>
        </p:blipFill>
        <p:spPr>
          <a:xfrm>
            <a:off x="4858149" y="3043589"/>
            <a:ext cx="1329467" cy="1234667"/>
          </a:xfrm>
          <a:prstGeom prst="rect">
            <a:avLst/>
          </a:prstGeom>
          <a:ln w="9525">
            <a:noFill/>
          </a:ln>
        </p:spPr>
      </p:pic>
      <p:sp>
        <p:nvSpPr>
          <p:cNvPr id="30" name="四角形: 上の 2 つの角を丸める 29">
            <a:extLst>
              <a:ext uri="{FF2B5EF4-FFF2-40B4-BE49-F238E27FC236}">
                <a16:creationId xmlns:a16="http://schemas.microsoft.com/office/drawing/2014/main" id="{283D9FA2-D082-AA95-0891-2C604D984BEF}"/>
              </a:ext>
            </a:extLst>
          </p:cNvPr>
          <p:cNvSpPr/>
          <p:nvPr/>
        </p:nvSpPr>
        <p:spPr>
          <a:xfrm rot="10800000">
            <a:off x="5235430" y="2922776"/>
            <a:ext cx="574904" cy="12081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3" name="四角形: 上の 2 つの角を丸める 32">
            <a:extLst>
              <a:ext uri="{FF2B5EF4-FFF2-40B4-BE49-F238E27FC236}">
                <a16:creationId xmlns:a16="http://schemas.microsoft.com/office/drawing/2014/main" id="{E7877E0A-C5CD-876B-8E82-FFDE4DC5C88D}"/>
              </a:ext>
            </a:extLst>
          </p:cNvPr>
          <p:cNvSpPr/>
          <p:nvPr/>
        </p:nvSpPr>
        <p:spPr>
          <a:xfrm rot="10800000">
            <a:off x="5235430" y="4489216"/>
            <a:ext cx="574904" cy="12081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6D425E63-D4BE-B748-6F7A-75635FEB37D4}"/>
              </a:ext>
            </a:extLst>
          </p:cNvPr>
          <p:cNvSpPr/>
          <p:nvPr/>
        </p:nvSpPr>
        <p:spPr>
          <a:xfrm>
            <a:off x="4844283" y="3257927"/>
            <a:ext cx="1382958" cy="17595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6" name="正方形/長方形 65">
            <a:extLst>
              <a:ext uri="{FF2B5EF4-FFF2-40B4-BE49-F238E27FC236}">
                <a16:creationId xmlns:a16="http://schemas.microsoft.com/office/drawing/2014/main" id="{6DF2FE39-A3D5-CE23-DE25-E3A0D586AD3C}"/>
              </a:ext>
            </a:extLst>
          </p:cNvPr>
          <p:cNvSpPr/>
          <p:nvPr/>
        </p:nvSpPr>
        <p:spPr>
          <a:xfrm>
            <a:off x="4822562" y="4610029"/>
            <a:ext cx="1045582" cy="21758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7" name="テキスト ボックス 66">
            <a:extLst>
              <a:ext uri="{FF2B5EF4-FFF2-40B4-BE49-F238E27FC236}">
                <a16:creationId xmlns:a16="http://schemas.microsoft.com/office/drawing/2014/main" id="{CD321CC0-826C-F8AE-8386-9AFDD5D01632}"/>
              </a:ext>
            </a:extLst>
          </p:cNvPr>
          <p:cNvSpPr txBox="1"/>
          <p:nvPr/>
        </p:nvSpPr>
        <p:spPr>
          <a:xfrm>
            <a:off x="4139951" y="1882800"/>
            <a:ext cx="267380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 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検索ボックスを押して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  <a:r>
              <a:rPr lang="en-US" altLang="ja-JP" sz="1600" b="1" kern="100" dirty="0" err="1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fun+walk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」</a:t>
            </a:r>
            <a:endParaRPr kumimoji="1"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　と入力し</a:t>
            </a:r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検索</a:t>
            </a:r>
            <a:endParaRPr kumimoji="1" lang="ja-JP" altLang="en-US" sz="1600" dirty="0"/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DDFE3FE6-0273-BBC6-938C-20EDE0643BA4}"/>
              </a:ext>
            </a:extLst>
          </p:cNvPr>
          <p:cNvSpPr txBox="1"/>
          <p:nvPr/>
        </p:nvSpPr>
        <p:spPr>
          <a:xfrm>
            <a:off x="6876256" y="1882800"/>
            <a:ext cx="19606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 ｢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入手」を押す</a:t>
            </a:r>
            <a:endParaRPr kumimoji="1" lang="ja-JP" altLang="en-US" sz="1200" dirty="0"/>
          </a:p>
        </p:txBody>
      </p:sp>
      <p:sp>
        <p:nvSpPr>
          <p:cNvPr id="69" name="四角形: 上の 2 つの角を丸める 68">
            <a:extLst>
              <a:ext uri="{FF2B5EF4-FFF2-40B4-BE49-F238E27FC236}">
                <a16:creationId xmlns:a16="http://schemas.microsoft.com/office/drawing/2014/main" id="{66E2F73D-55C9-96D7-4093-1BABB842C094}"/>
              </a:ext>
            </a:extLst>
          </p:cNvPr>
          <p:cNvSpPr/>
          <p:nvPr/>
        </p:nvSpPr>
        <p:spPr>
          <a:xfrm rot="10800000">
            <a:off x="7464359" y="2922776"/>
            <a:ext cx="574904" cy="12081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70" name="直線矢印コネクタ 69">
            <a:extLst>
              <a:ext uri="{FF2B5EF4-FFF2-40B4-BE49-F238E27FC236}">
                <a16:creationId xmlns:a16="http://schemas.microsoft.com/office/drawing/2014/main" id="{9A54D549-8617-AEEC-74C7-40CC576949BF}"/>
              </a:ext>
            </a:extLst>
          </p:cNvPr>
          <p:cNvCxnSpPr/>
          <p:nvPr/>
        </p:nvCxnSpPr>
        <p:spPr>
          <a:xfrm>
            <a:off x="5508104" y="4149080"/>
            <a:ext cx="0" cy="178917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" name="グループ化 70">
            <a:extLst>
              <a:ext uri="{FF2B5EF4-FFF2-40B4-BE49-F238E27FC236}">
                <a16:creationId xmlns:a16="http://schemas.microsoft.com/office/drawing/2014/main" id="{47CD0E27-3DF1-1F89-1169-84540B84EEFE}"/>
              </a:ext>
            </a:extLst>
          </p:cNvPr>
          <p:cNvGrpSpPr/>
          <p:nvPr/>
        </p:nvGrpSpPr>
        <p:grpSpPr>
          <a:xfrm>
            <a:off x="4499992" y="2996952"/>
            <a:ext cx="492444" cy="461665"/>
            <a:chOff x="10718372" y="2977010"/>
            <a:chExt cx="492444" cy="461665"/>
          </a:xfrm>
        </p:grpSpPr>
        <p:sp>
          <p:nvSpPr>
            <p:cNvPr id="72" name="円/楕円 40">
              <a:extLst>
                <a:ext uri="{FF2B5EF4-FFF2-40B4-BE49-F238E27FC236}">
                  <a16:creationId xmlns:a16="http://schemas.microsoft.com/office/drawing/2014/main" id="{3EA818B0-B60C-A9D7-FC83-782E55D857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66526" y="3080507"/>
              <a:ext cx="196137" cy="1920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73" name="図形グループ 39">
              <a:extLst>
                <a:ext uri="{FF2B5EF4-FFF2-40B4-BE49-F238E27FC236}">
                  <a16:creationId xmlns:a16="http://schemas.microsoft.com/office/drawing/2014/main" id="{934705DF-1951-A74F-4726-8E71B864ECD3}"/>
                </a:ext>
              </a:extLst>
            </p:cNvPr>
            <p:cNvGrpSpPr/>
            <p:nvPr/>
          </p:nvGrpSpPr>
          <p:grpSpPr>
            <a:xfrm>
              <a:off x="10718372" y="2977010"/>
              <a:ext cx="492444" cy="461665"/>
              <a:chOff x="7523571" y="2661581"/>
              <a:chExt cx="492444" cy="461665"/>
            </a:xfrm>
          </p:grpSpPr>
          <p:sp>
            <p:nvSpPr>
              <p:cNvPr id="74" name="円/楕円 44">
                <a:extLst>
                  <a:ext uri="{FF2B5EF4-FFF2-40B4-BE49-F238E27FC236}">
                    <a16:creationId xmlns:a16="http://schemas.microsoft.com/office/drawing/2014/main" id="{FFE78BDD-857F-EC8C-1932-2FB0C3BC99C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75" name="正方形/長方形 74">
                <a:extLst>
                  <a:ext uri="{FF2B5EF4-FFF2-40B4-BE49-F238E27FC236}">
                    <a16:creationId xmlns:a16="http://schemas.microsoft.com/office/drawing/2014/main" id="{B0F20CF8-9F4C-6848-8A32-59BE807AD5B2}"/>
                  </a:ext>
                </a:extLst>
              </p:cNvPr>
              <p:cNvSpPr/>
              <p:nvPr/>
            </p:nvSpPr>
            <p:spPr>
              <a:xfrm>
                <a:off x="7523571" y="2661581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grpSp>
        <p:nvGrpSpPr>
          <p:cNvPr id="76" name="グループ化 75">
            <a:extLst>
              <a:ext uri="{FF2B5EF4-FFF2-40B4-BE49-F238E27FC236}">
                <a16:creationId xmlns:a16="http://schemas.microsoft.com/office/drawing/2014/main" id="{11D276EC-5EA5-0222-2D14-4EDE906E088B}"/>
              </a:ext>
            </a:extLst>
          </p:cNvPr>
          <p:cNvGrpSpPr/>
          <p:nvPr/>
        </p:nvGrpSpPr>
        <p:grpSpPr>
          <a:xfrm>
            <a:off x="4499992" y="4389496"/>
            <a:ext cx="492444" cy="461665"/>
            <a:chOff x="10718372" y="2977010"/>
            <a:chExt cx="492444" cy="461665"/>
          </a:xfrm>
        </p:grpSpPr>
        <p:sp>
          <p:nvSpPr>
            <p:cNvPr id="77" name="円/楕円 40">
              <a:extLst>
                <a:ext uri="{FF2B5EF4-FFF2-40B4-BE49-F238E27FC236}">
                  <a16:creationId xmlns:a16="http://schemas.microsoft.com/office/drawing/2014/main" id="{5012E2B7-E3DF-E6DC-1CBB-955419FE8F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66526" y="3080507"/>
              <a:ext cx="196137" cy="1920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78" name="図形グループ 39">
              <a:extLst>
                <a:ext uri="{FF2B5EF4-FFF2-40B4-BE49-F238E27FC236}">
                  <a16:creationId xmlns:a16="http://schemas.microsoft.com/office/drawing/2014/main" id="{61C2D5FF-9EB4-B5B2-1018-660F06AB7F9F}"/>
                </a:ext>
              </a:extLst>
            </p:cNvPr>
            <p:cNvGrpSpPr/>
            <p:nvPr/>
          </p:nvGrpSpPr>
          <p:grpSpPr>
            <a:xfrm>
              <a:off x="10718372" y="2977010"/>
              <a:ext cx="492444" cy="461665"/>
              <a:chOff x="7523571" y="2661581"/>
              <a:chExt cx="492444" cy="461665"/>
            </a:xfrm>
          </p:grpSpPr>
          <p:sp>
            <p:nvSpPr>
              <p:cNvPr id="79" name="円/楕円 44">
                <a:extLst>
                  <a:ext uri="{FF2B5EF4-FFF2-40B4-BE49-F238E27FC236}">
                    <a16:creationId xmlns:a16="http://schemas.microsoft.com/office/drawing/2014/main" id="{9AB70B16-A73E-6A90-5426-01F4C74D46A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80" name="正方形/長方形 79">
                <a:extLst>
                  <a:ext uri="{FF2B5EF4-FFF2-40B4-BE49-F238E27FC236}">
                    <a16:creationId xmlns:a16="http://schemas.microsoft.com/office/drawing/2014/main" id="{53B33BE0-3679-3F8C-B8D3-A1F2B32A5EA9}"/>
                  </a:ext>
                </a:extLst>
              </p:cNvPr>
              <p:cNvSpPr/>
              <p:nvPr/>
            </p:nvSpPr>
            <p:spPr>
              <a:xfrm>
                <a:off x="7523571" y="2661581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sp>
        <p:nvSpPr>
          <p:cNvPr id="81" name="正方形/長方形 80">
            <a:extLst>
              <a:ext uri="{FF2B5EF4-FFF2-40B4-BE49-F238E27FC236}">
                <a16:creationId xmlns:a16="http://schemas.microsoft.com/office/drawing/2014/main" id="{4B3C3594-E476-02E2-3AE2-DFAE311AC834}"/>
              </a:ext>
            </a:extLst>
          </p:cNvPr>
          <p:cNvSpPr/>
          <p:nvPr/>
        </p:nvSpPr>
        <p:spPr>
          <a:xfrm>
            <a:off x="8039263" y="3257926"/>
            <a:ext cx="410940" cy="24308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82" name="図形グループ 36">
            <a:extLst>
              <a:ext uri="{FF2B5EF4-FFF2-40B4-BE49-F238E27FC236}">
                <a16:creationId xmlns:a16="http://schemas.microsoft.com/office/drawing/2014/main" id="{375EA991-0DF9-3676-EA4F-41CC307D8573}"/>
              </a:ext>
            </a:extLst>
          </p:cNvPr>
          <p:cNvGrpSpPr/>
          <p:nvPr/>
        </p:nvGrpSpPr>
        <p:grpSpPr>
          <a:xfrm>
            <a:off x="7751965" y="2996952"/>
            <a:ext cx="492443" cy="461665"/>
            <a:chOff x="7516281" y="2673548"/>
            <a:chExt cx="492443" cy="461665"/>
          </a:xfrm>
        </p:grpSpPr>
        <p:sp>
          <p:nvSpPr>
            <p:cNvPr id="83" name="円/楕円 37">
              <a:extLst>
                <a:ext uri="{FF2B5EF4-FFF2-40B4-BE49-F238E27FC236}">
                  <a16:creationId xmlns:a16="http://schemas.microsoft.com/office/drawing/2014/main" id="{888DF720-470D-2063-0C3D-6AE3BD84C3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4" name="正方形/長方形 83">
              <a:extLst>
                <a:ext uri="{FF2B5EF4-FFF2-40B4-BE49-F238E27FC236}">
                  <a16:creationId xmlns:a16="http://schemas.microsoft.com/office/drawing/2014/main" id="{75075324-0C5C-4C52-2896-48077FA8F239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❹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85" name="テキスト ボックス 84">
            <a:extLst>
              <a:ext uri="{FF2B5EF4-FFF2-40B4-BE49-F238E27FC236}">
                <a16:creationId xmlns:a16="http://schemas.microsoft.com/office/drawing/2014/main" id="{5B60BA6E-AE06-20CF-87AB-2B04F1217514}"/>
              </a:ext>
            </a:extLst>
          </p:cNvPr>
          <p:cNvSpPr txBox="1"/>
          <p:nvPr/>
        </p:nvSpPr>
        <p:spPr>
          <a:xfrm>
            <a:off x="550800" y="1882800"/>
            <a:ext cx="20057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ホーム画面で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App Store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」　　「　 」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86" name="図 85">
            <a:extLst>
              <a:ext uri="{FF2B5EF4-FFF2-40B4-BE49-F238E27FC236}">
                <a16:creationId xmlns:a16="http://schemas.microsoft.com/office/drawing/2014/main" id="{E405F882-F85E-2BE3-C738-9D1265D54A4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9625" y="2553919"/>
            <a:ext cx="234277" cy="224515"/>
          </a:xfrm>
          <a:prstGeom prst="rect">
            <a:avLst/>
          </a:prstGeom>
        </p:spPr>
      </p:pic>
      <p:pic>
        <p:nvPicPr>
          <p:cNvPr id="90" name="図 89">
            <a:extLst>
              <a:ext uri="{FF2B5EF4-FFF2-40B4-BE49-F238E27FC236}">
                <a16:creationId xmlns:a16="http://schemas.microsoft.com/office/drawing/2014/main" id="{B8E0A64C-9EFE-9E55-14DD-A88245525FC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81210" y="4557994"/>
            <a:ext cx="1353443" cy="743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09981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5263877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利用設定</a:t>
            </a:r>
            <a:endParaRPr lang="ja-JP" altLang="en-US" sz="28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1" name="タイトル 1">
            <a:extLst>
              <a:ext uri="{FF2B5EF4-FFF2-40B4-BE49-F238E27FC236}">
                <a16:creationId xmlns:a16="http://schemas.microsoft.com/office/drawing/2014/main" id="{D592821F-EE96-6688-E380-8B0FBF773815}"/>
              </a:ext>
            </a:extLst>
          </p:cNvPr>
          <p:cNvSpPr txBox="1">
            <a:spLocks/>
          </p:cNvSpPr>
          <p:nvPr/>
        </p:nvSpPr>
        <p:spPr>
          <a:xfrm>
            <a:off x="271432" y="1520467"/>
            <a:ext cx="8693056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ホーム画面から「</a:t>
            </a:r>
            <a:r>
              <a:rPr lang="en-US" altLang="ja-JP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FUN</a:t>
            </a:r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r>
              <a:rPr lang="en-US" altLang="ja-JP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WALK</a:t>
            </a:r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アプリ」を押し、アプリの初期設定を始めましょう。</a:t>
            </a: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FD80386E-F7E3-A978-BFF8-BE6008AEEB5E}"/>
              </a:ext>
            </a:extLst>
          </p:cNvPr>
          <p:cNvSpPr txBox="1"/>
          <p:nvPr/>
        </p:nvSpPr>
        <p:spPr>
          <a:xfrm>
            <a:off x="611560" y="2070228"/>
            <a:ext cx="205293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❶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続ける」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indent="360363" algn="l"/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ja-JP" altLang="ja-JP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66071952-269E-4708-8C2D-FA2E809A4427}"/>
              </a:ext>
            </a:extLst>
          </p:cNvPr>
          <p:cNvSpPr txBox="1"/>
          <p:nvPr/>
        </p:nvSpPr>
        <p:spPr>
          <a:xfrm>
            <a:off x="2339752" y="2074364"/>
            <a:ext cx="2150232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❷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ダウンロードが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b="1" kern="1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 終わるまで待つ</a:t>
            </a:r>
            <a:endParaRPr lang="en-US" altLang="ja-JP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5E9AAFF0-FC89-D19B-FAA3-529E735EA51E}"/>
              </a:ext>
            </a:extLst>
          </p:cNvPr>
          <p:cNvSpPr txBox="1"/>
          <p:nvPr/>
        </p:nvSpPr>
        <p:spPr>
          <a:xfrm>
            <a:off x="4386808" y="1942671"/>
            <a:ext cx="256781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❸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利用規約を読み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「利用規約を同意し　　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て次へ進む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07A7D076-1ED5-48DE-8922-10D07AAC34C4}"/>
              </a:ext>
            </a:extLst>
          </p:cNvPr>
          <p:cNvGrpSpPr/>
          <p:nvPr/>
        </p:nvGrpSpPr>
        <p:grpSpPr>
          <a:xfrm>
            <a:off x="2571946" y="2987264"/>
            <a:ext cx="1823861" cy="3310010"/>
            <a:chOff x="2750745" y="2864728"/>
            <a:chExt cx="1537482" cy="3080274"/>
          </a:xfrm>
        </p:grpSpPr>
        <p:pic>
          <p:nvPicPr>
            <p:cNvPr id="17" name="図 16" descr="テキスト&#10;&#10;低い精度で自動的に生成された説明">
              <a:extLst>
                <a:ext uri="{FF2B5EF4-FFF2-40B4-BE49-F238E27FC236}">
                  <a16:creationId xmlns:a16="http://schemas.microsoft.com/office/drawing/2014/main" id="{6C6A12FC-EC3E-503D-CB7B-63CE08C333A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864976" y="2864728"/>
              <a:ext cx="1423251" cy="308027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grpSp>
          <p:nvGrpSpPr>
            <p:cNvPr id="39" name="図形グループ 23">
              <a:extLst>
                <a:ext uri="{FF2B5EF4-FFF2-40B4-BE49-F238E27FC236}">
                  <a16:creationId xmlns:a16="http://schemas.microsoft.com/office/drawing/2014/main" id="{740A7A06-73C2-E159-F32E-2EF02DC1D212}"/>
                </a:ext>
              </a:extLst>
            </p:cNvPr>
            <p:cNvGrpSpPr/>
            <p:nvPr/>
          </p:nvGrpSpPr>
          <p:grpSpPr>
            <a:xfrm>
              <a:off x="2750745" y="3467180"/>
              <a:ext cx="296586" cy="293005"/>
              <a:chOff x="3546641" y="3995693"/>
              <a:chExt cx="296586" cy="293005"/>
            </a:xfrm>
          </p:grpSpPr>
          <p:sp>
            <p:nvSpPr>
              <p:cNvPr id="40" name="円/楕円 28">
                <a:extLst>
                  <a:ext uri="{FF2B5EF4-FFF2-40B4-BE49-F238E27FC236}">
                    <a16:creationId xmlns:a16="http://schemas.microsoft.com/office/drawing/2014/main" id="{F557137E-DEB4-B9CE-1717-06619585367C}"/>
                  </a:ext>
                </a:extLst>
              </p:cNvPr>
              <p:cNvSpPr/>
              <p:nvPr/>
            </p:nvSpPr>
            <p:spPr>
              <a:xfrm>
                <a:off x="35478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dirty="0"/>
              </a:p>
            </p:txBody>
          </p:sp>
          <p:sp>
            <p:nvSpPr>
              <p:cNvPr id="41" name="フリーフォーム 29">
                <a:extLst>
                  <a:ext uri="{FF2B5EF4-FFF2-40B4-BE49-F238E27FC236}">
                    <a16:creationId xmlns:a16="http://schemas.microsoft.com/office/drawing/2014/main" id="{D8CFBB11-115D-D17D-0A3C-66D3F91E8823}"/>
                  </a:ext>
                </a:extLst>
              </p:cNvPr>
              <p:cNvSpPr/>
              <p:nvPr/>
            </p:nvSpPr>
            <p:spPr>
              <a:xfrm>
                <a:off x="35466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3572" y="44927"/>
                    </a:moveTo>
                    <a:cubicBezTo>
                      <a:pt x="124582" y="44927"/>
                      <a:pt x="106024" y="49974"/>
                      <a:pt x="87902" y="60066"/>
                    </a:cubicBezTo>
                    <a:lnTo>
                      <a:pt x="87902" y="96366"/>
                    </a:lnTo>
                    <a:lnTo>
                      <a:pt x="91971" y="96041"/>
                    </a:lnTo>
                    <a:cubicBezTo>
                      <a:pt x="96746" y="92894"/>
                      <a:pt x="103637" y="89855"/>
                      <a:pt x="112644" y="86925"/>
                    </a:cubicBezTo>
                    <a:cubicBezTo>
                      <a:pt x="123279" y="83452"/>
                      <a:pt x="132612" y="81716"/>
                      <a:pt x="140643" y="81716"/>
                    </a:cubicBezTo>
                    <a:cubicBezTo>
                      <a:pt x="157029" y="81716"/>
                      <a:pt x="165222" y="88715"/>
                      <a:pt x="165222" y="102715"/>
                    </a:cubicBezTo>
                    <a:cubicBezTo>
                      <a:pt x="165222" y="111071"/>
                      <a:pt x="162726" y="119427"/>
                      <a:pt x="157734" y="127783"/>
                    </a:cubicBezTo>
                    <a:cubicBezTo>
                      <a:pt x="152960" y="135705"/>
                      <a:pt x="144386" y="146231"/>
                      <a:pt x="132015" y="159362"/>
                    </a:cubicBezTo>
                    <a:cubicBezTo>
                      <a:pt x="120837" y="171083"/>
                      <a:pt x="113675" y="178570"/>
                      <a:pt x="110528" y="181826"/>
                    </a:cubicBezTo>
                    <a:cubicBezTo>
                      <a:pt x="103040" y="189205"/>
                      <a:pt x="94196" y="197182"/>
                      <a:pt x="83995" y="205755"/>
                    </a:cubicBezTo>
                    <a:lnTo>
                      <a:pt x="83995" y="240102"/>
                    </a:lnTo>
                    <a:lnTo>
                      <a:pt x="213568" y="240102"/>
                    </a:lnTo>
                    <a:lnTo>
                      <a:pt x="213568" y="205755"/>
                    </a:lnTo>
                    <a:lnTo>
                      <a:pt x="137224" y="205755"/>
                    </a:lnTo>
                    <a:cubicBezTo>
                      <a:pt x="150681" y="193492"/>
                      <a:pt x="162455" y="182260"/>
                      <a:pt x="172548" y="172059"/>
                    </a:cubicBezTo>
                    <a:cubicBezTo>
                      <a:pt x="185570" y="158928"/>
                      <a:pt x="194523" y="148239"/>
                      <a:pt x="199406" y="139991"/>
                    </a:cubicBezTo>
                    <a:cubicBezTo>
                      <a:pt x="206460" y="128271"/>
                      <a:pt x="209987" y="115412"/>
                      <a:pt x="209987" y="101412"/>
                    </a:cubicBezTo>
                    <a:cubicBezTo>
                      <a:pt x="209987" y="84483"/>
                      <a:pt x="203910" y="70837"/>
                      <a:pt x="191756" y="60473"/>
                    </a:cubicBezTo>
                    <a:cubicBezTo>
                      <a:pt x="179601" y="50109"/>
                      <a:pt x="163540" y="44927"/>
                      <a:pt x="143572" y="44927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sp>
          <p:nvSpPr>
            <p:cNvPr id="47" name="正方形/長方形 46">
              <a:extLst>
                <a:ext uri="{FF2B5EF4-FFF2-40B4-BE49-F238E27FC236}">
                  <a16:creationId xmlns:a16="http://schemas.microsoft.com/office/drawing/2014/main" id="{E0E7C05F-B118-09E6-21CB-F3816AAABFF3}"/>
                </a:ext>
              </a:extLst>
            </p:cNvPr>
            <p:cNvSpPr>
              <a:spLocks/>
            </p:cNvSpPr>
            <p:nvPr/>
          </p:nvSpPr>
          <p:spPr>
            <a:xfrm>
              <a:off x="2948227" y="3881830"/>
              <a:ext cx="1260978" cy="1011681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E537A4BF-A43C-4F03-99E7-123C72535415}"/>
              </a:ext>
            </a:extLst>
          </p:cNvPr>
          <p:cNvGrpSpPr/>
          <p:nvPr/>
        </p:nvGrpSpPr>
        <p:grpSpPr>
          <a:xfrm>
            <a:off x="693988" y="2988605"/>
            <a:ext cx="1684956" cy="3308669"/>
            <a:chOff x="771832" y="2864727"/>
            <a:chExt cx="1423251" cy="3080273"/>
          </a:xfrm>
        </p:grpSpPr>
        <p:pic>
          <p:nvPicPr>
            <p:cNvPr id="26" name="図 25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076C7239-6F23-D144-BFAA-5B4460C802C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71832" y="2864727"/>
              <a:ext cx="1423251" cy="308027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grpSp>
          <p:nvGrpSpPr>
            <p:cNvPr id="42" name="図形グループ 30">
              <a:extLst>
                <a:ext uri="{FF2B5EF4-FFF2-40B4-BE49-F238E27FC236}">
                  <a16:creationId xmlns:a16="http://schemas.microsoft.com/office/drawing/2014/main" id="{20AE6E39-8D33-443D-D3C5-31CF2D08B533}"/>
                </a:ext>
              </a:extLst>
            </p:cNvPr>
            <p:cNvGrpSpPr/>
            <p:nvPr/>
          </p:nvGrpSpPr>
          <p:grpSpPr>
            <a:xfrm>
              <a:off x="899592" y="4276812"/>
              <a:ext cx="296587" cy="293005"/>
              <a:chOff x="2897417" y="3995693"/>
              <a:chExt cx="296587" cy="293005"/>
            </a:xfrm>
          </p:grpSpPr>
          <p:sp>
            <p:nvSpPr>
              <p:cNvPr id="44" name="円/楕円 35">
                <a:extLst>
                  <a:ext uri="{FF2B5EF4-FFF2-40B4-BE49-F238E27FC236}">
                    <a16:creationId xmlns:a16="http://schemas.microsoft.com/office/drawing/2014/main" id="{2272D426-D459-1D92-A059-8D1B18C58DE9}"/>
                  </a:ext>
                </a:extLst>
              </p:cNvPr>
              <p:cNvSpPr/>
              <p:nvPr/>
            </p:nvSpPr>
            <p:spPr>
              <a:xfrm>
                <a:off x="2898648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6" name="テキスト ボックス 45">
                <a:extLst>
                  <a:ext uri="{FF2B5EF4-FFF2-40B4-BE49-F238E27FC236}">
                    <a16:creationId xmlns:a16="http://schemas.microsoft.com/office/drawing/2014/main" id="{5131656E-F67C-0F13-0993-CAF74DEC0FC1}"/>
                  </a:ext>
                </a:extLst>
              </p:cNvPr>
              <p:cNvSpPr txBox="1"/>
              <p:nvPr/>
            </p:nvSpPr>
            <p:spPr>
              <a:xfrm>
                <a:off x="2897417" y="3995693"/>
                <a:ext cx="296587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7" h="293005">
                    <a:moveTo>
                      <a:pt x="130550" y="49974"/>
                    </a:moveTo>
                    <a:cubicBezTo>
                      <a:pt x="129356" y="59415"/>
                      <a:pt x="125070" y="65709"/>
                      <a:pt x="117690" y="68856"/>
                    </a:cubicBezTo>
                    <a:cubicBezTo>
                      <a:pt x="112373" y="71135"/>
                      <a:pt x="103203" y="72275"/>
                      <a:pt x="90180" y="72275"/>
                    </a:cubicBezTo>
                    <a:lnTo>
                      <a:pt x="90180" y="100598"/>
                    </a:lnTo>
                    <a:lnTo>
                      <a:pt x="124202" y="100598"/>
                    </a:lnTo>
                    <a:lnTo>
                      <a:pt x="124202" y="209336"/>
                    </a:lnTo>
                    <a:lnTo>
                      <a:pt x="90180" y="209336"/>
                    </a:lnTo>
                    <a:lnTo>
                      <a:pt x="90180" y="240753"/>
                    </a:lnTo>
                    <a:lnTo>
                      <a:pt x="200546" y="240753"/>
                    </a:lnTo>
                    <a:lnTo>
                      <a:pt x="200546" y="209336"/>
                    </a:lnTo>
                    <a:lnTo>
                      <a:pt x="167176" y="209336"/>
                    </a:lnTo>
                    <a:lnTo>
                      <a:pt x="167176" y="49974"/>
                    </a:lnTo>
                    <a:close/>
                    <a:moveTo>
                      <a:pt x="148619" y="0"/>
                    </a:moveTo>
                    <a:cubicBezTo>
                      <a:pt x="189423" y="0"/>
                      <a:pt x="224285" y="14162"/>
                      <a:pt x="253206" y="42486"/>
                    </a:cubicBezTo>
                    <a:cubicBezTo>
                      <a:pt x="282126" y="70810"/>
                      <a:pt x="296587" y="105211"/>
                      <a:pt x="296587" y="145689"/>
                    </a:cubicBezTo>
                    <a:cubicBezTo>
                      <a:pt x="296587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kumimoji="1" lang="ja-JP" altLang="en-US" sz="26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  <p:sp>
          <p:nvSpPr>
            <p:cNvPr id="48" name="正方形/長方形 47">
              <a:extLst>
                <a:ext uri="{FF2B5EF4-FFF2-40B4-BE49-F238E27FC236}">
                  <a16:creationId xmlns:a16="http://schemas.microsoft.com/office/drawing/2014/main" id="{F2769A9B-0222-E9B1-D80D-CD0ADAC44AA9}"/>
                </a:ext>
              </a:extLst>
            </p:cNvPr>
            <p:cNvSpPr>
              <a:spLocks/>
            </p:cNvSpPr>
            <p:nvPr/>
          </p:nvSpPr>
          <p:spPr>
            <a:xfrm>
              <a:off x="1167338" y="4581128"/>
              <a:ext cx="600380" cy="291601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C949BCFE-CC50-4F61-85C5-ADD8CCDA46CE}"/>
              </a:ext>
            </a:extLst>
          </p:cNvPr>
          <p:cNvGrpSpPr/>
          <p:nvPr/>
        </p:nvGrpSpPr>
        <p:grpSpPr>
          <a:xfrm>
            <a:off x="4643101" y="2988689"/>
            <a:ext cx="1840030" cy="3308585"/>
            <a:chOff x="4782957" y="2863388"/>
            <a:chExt cx="1545808" cy="3080273"/>
          </a:xfrm>
        </p:grpSpPr>
        <p:pic>
          <p:nvPicPr>
            <p:cNvPr id="25" name="図 24" descr="テキスト, 手紙&#10;&#10;自動的に生成された説明">
              <a:extLst>
                <a:ext uri="{FF2B5EF4-FFF2-40B4-BE49-F238E27FC236}">
                  <a16:creationId xmlns:a16="http://schemas.microsoft.com/office/drawing/2014/main" id="{423ED411-FCBA-57C8-8A1D-E837F1A994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905514" y="2863388"/>
              <a:ext cx="1423251" cy="308027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grpSp>
          <p:nvGrpSpPr>
            <p:cNvPr id="53" name="図形グループ 55">
              <a:extLst>
                <a:ext uri="{FF2B5EF4-FFF2-40B4-BE49-F238E27FC236}">
                  <a16:creationId xmlns:a16="http://schemas.microsoft.com/office/drawing/2014/main" id="{35156E6C-0F72-328A-6360-FB08591A8CE4}"/>
                </a:ext>
              </a:extLst>
            </p:cNvPr>
            <p:cNvGrpSpPr/>
            <p:nvPr/>
          </p:nvGrpSpPr>
          <p:grpSpPr>
            <a:xfrm>
              <a:off x="4782957" y="5274518"/>
              <a:ext cx="296586" cy="293005"/>
              <a:chOff x="4232441" y="3995693"/>
              <a:chExt cx="296586" cy="293005"/>
            </a:xfrm>
          </p:grpSpPr>
          <p:sp>
            <p:nvSpPr>
              <p:cNvPr id="54" name="円/楕円 56">
                <a:extLst>
                  <a:ext uri="{FF2B5EF4-FFF2-40B4-BE49-F238E27FC236}">
                    <a16:creationId xmlns:a16="http://schemas.microsoft.com/office/drawing/2014/main" id="{91979051-484B-C5D0-0C02-F6DAFA4D14EE}"/>
                  </a:ext>
                </a:extLst>
              </p:cNvPr>
              <p:cNvSpPr/>
              <p:nvPr/>
            </p:nvSpPr>
            <p:spPr>
              <a:xfrm>
                <a:off x="42336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55" name="フリーフォーム 57">
                <a:extLst>
                  <a:ext uri="{FF2B5EF4-FFF2-40B4-BE49-F238E27FC236}">
                    <a16:creationId xmlns:a16="http://schemas.microsoft.com/office/drawing/2014/main" id="{0BE3B52A-C5CE-3015-87E6-B2F7DB6A35F9}"/>
                  </a:ext>
                </a:extLst>
              </p:cNvPr>
              <p:cNvSpPr/>
              <p:nvPr/>
            </p:nvSpPr>
            <p:spPr>
              <a:xfrm>
                <a:off x="42324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7968" y="45253"/>
                    </a:moveTo>
                    <a:cubicBezTo>
                      <a:pt x="129194" y="45253"/>
                      <a:pt x="110420" y="50299"/>
                      <a:pt x="91645" y="60392"/>
                    </a:cubicBezTo>
                    <a:lnTo>
                      <a:pt x="91645" y="98320"/>
                    </a:lnTo>
                    <a:lnTo>
                      <a:pt x="96203" y="98320"/>
                    </a:lnTo>
                    <a:cubicBezTo>
                      <a:pt x="101087" y="93979"/>
                      <a:pt x="108575" y="89963"/>
                      <a:pt x="118667" y="86274"/>
                    </a:cubicBezTo>
                    <a:cubicBezTo>
                      <a:pt x="129302" y="82367"/>
                      <a:pt x="138743" y="80414"/>
                      <a:pt x="146991" y="80414"/>
                    </a:cubicBezTo>
                    <a:cubicBezTo>
                      <a:pt x="154045" y="80414"/>
                      <a:pt x="160230" y="81933"/>
                      <a:pt x="165548" y="84972"/>
                    </a:cubicBezTo>
                    <a:cubicBezTo>
                      <a:pt x="169997" y="87576"/>
                      <a:pt x="172222" y="92242"/>
                      <a:pt x="172222" y="98971"/>
                    </a:cubicBezTo>
                    <a:cubicBezTo>
                      <a:pt x="172222" y="106133"/>
                      <a:pt x="169536" y="111776"/>
                      <a:pt x="164164" y="115900"/>
                    </a:cubicBezTo>
                    <a:cubicBezTo>
                      <a:pt x="158793" y="120024"/>
                      <a:pt x="151603" y="122086"/>
                      <a:pt x="142596" y="122086"/>
                    </a:cubicBezTo>
                    <a:lnTo>
                      <a:pt x="125667" y="122086"/>
                    </a:lnTo>
                    <a:lnTo>
                      <a:pt x="125667" y="153339"/>
                    </a:lnTo>
                    <a:lnTo>
                      <a:pt x="144875" y="153339"/>
                    </a:lnTo>
                    <a:cubicBezTo>
                      <a:pt x="165385" y="153339"/>
                      <a:pt x="175640" y="162130"/>
                      <a:pt x="175640" y="179710"/>
                    </a:cubicBezTo>
                    <a:cubicBezTo>
                      <a:pt x="175640" y="189043"/>
                      <a:pt x="172656" y="196476"/>
                      <a:pt x="166687" y="202011"/>
                    </a:cubicBezTo>
                    <a:cubicBezTo>
                      <a:pt x="161153" y="207111"/>
                      <a:pt x="154045" y="209662"/>
                      <a:pt x="145363" y="209662"/>
                    </a:cubicBezTo>
                    <a:cubicBezTo>
                      <a:pt x="136356" y="209662"/>
                      <a:pt x="126562" y="207952"/>
                      <a:pt x="115981" y="204534"/>
                    </a:cubicBezTo>
                    <a:cubicBezTo>
                      <a:pt x="105400" y="201116"/>
                      <a:pt x="97289" y="197182"/>
                      <a:pt x="91645" y="192732"/>
                    </a:cubicBezTo>
                    <a:lnTo>
                      <a:pt x="86599" y="192732"/>
                    </a:lnTo>
                    <a:lnTo>
                      <a:pt x="86599" y="230660"/>
                    </a:lnTo>
                    <a:cubicBezTo>
                      <a:pt x="107218" y="240427"/>
                      <a:pt x="127023" y="245311"/>
                      <a:pt x="146014" y="245311"/>
                    </a:cubicBezTo>
                    <a:cubicBezTo>
                      <a:pt x="166850" y="245311"/>
                      <a:pt x="183888" y="239478"/>
                      <a:pt x="197127" y="227812"/>
                    </a:cubicBezTo>
                    <a:cubicBezTo>
                      <a:pt x="210367" y="216146"/>
                      <a:pt x="216987" y="201088"/>
                      <a:pt x="216987" y="182640"/>
                    </a:cubicBezTo>
                    <a:cubicBezTo>
                      <a:pt x="216987" y="157029"/>
                      <a:pt x="203856" y="142270"/>
                      <a:pt x="177594" y="138364"/>
                    </a:cubicBezTo>
                    <a:lnTo>
                      <a:pt x="177594" y="136410"/>
                    </a:lnTo>
                    <a:cubicBezTo>
                      <a:pt x="187795" y="135325"/>
                      <a:pt x="196151" y="131418"/>
                      <a:pt x="202662" y="124690"/>
                    </a:cubicBezTo>
                    <a:cubicBezTo>
                      <a:pt x="209716" y="117311"/>
                      <a:pt x="213243" y="107869"/>
                      <a:pt x="213243" y="96366"/>
                    </a:cubicBezTo>
                    <a:cubicBezTo>
                      <a:pt x="213243" y="80088"/>
                      <a:pt x="206243" y="66957"/>
                      <a:pt x="192244" y="56973"/>
                    </a:cubicBezTo>
                    <a:cubicBezTo>
                      <a:pt x="181283" y="49160"/>
                      <a:pt x="166525" y="45253"/>
                      <a:pt x="147968" y="45253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sp>
          <p:nvSpPr>
            <p:cNvPr id="64" name="正方形/長方形 63">
              <a:extLst>
                <a:ext uri="{FF2B5EF4-FFF2-40B4-BE49-F238E27FC236}">
                  <a16:creationId xmlns:a16="http://schemas.microsoft.com/office/drawing/2014/main" id="{56ECA49E-17C5-8F99-0700-6904A35D7173}"/>
                </a:ext>
              </a:extLst>
            </p:cNvPr>
            <p:cNvSpPr>
              <a:spLocks/>
            </p:cNvSpPr>
            <p:nvPr/>
          </p:nvSpPr>
          <p:spPr>
            <a:xfrm>
              <a:off x="5075788" y="5516886"/>
              <a:ext cx="1080388" cy="2916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65" name="テキスト ボックス 64">
            <a:extLst>
              <a:ext uri="{FF2B5EF4-FFF2-40B4-BE49-F238E27FC236}">
                <a16:creationId xmlns:a16="http://schemas.microsoft.com/office/drawing/2014/main" id="{8D722303-E708-2E57-F1C0-1C9E34C9EB5A}"/>
              </a:ext>
            </a:extLst>
          </p:cNvPr>
          <p:cNvSpPr txBox="1"/>
          <p:nvPr/>
        </p:nvSpPr>
        <p:spPr>
          <a:xfrm>
            <a:off x="6595361" y="1940364"/>
            <a:ext cx="215023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❹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赤枠内を記入、選択し「次へ」を押す</a:t>
            </a:r>
            <a:endParaRPr lang="en-US" altLang="ja-JP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45B7F0A8-42F9-4FF3-A1D8-53C0998CBBC2}"/>
              </a:ext>
            </a:extLst>
          </p:cNvPr>
          <p:cNvGrpSpPr/>
          <p:nvPr/>
        </p:nvGrpSpPr>
        <p:grpSpPr>
          <a:xfrm>
            <a:off x="6685814" y="3008465"/>
            <a:ext cx="1834604" cy="3308585"/>
            <a:chOff x="6925921" y="2864727"/>
            <a:chExt cx="1522404" cy="3080273"/>
          </a:xfrm>
        </p:grpSpPr>
        <p:pic>
          <p:nvPicPr>
            <p:cNvPr id="3" name="図 2" descr="グラフィカル ユーザー インターフェイス&#10;&#10;自動的に生成された説明">
              <a:extLst>
                <a:ext uri="{FF2B5EF4-FFF2-40B4-BE49-F238E27FC236}">
                  <a16:creationId xmlns:a16="http://schemas.microsoft.com/office/drawing/2014/main" id="{D3ECF546-4787-DF04-A116-E70994D468F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025074" y="2864727"/>
              <a:ext cx="1423251" cy="308027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60" name="正方形/長方形 59">
              <a:extLst>
                <a:ext uri="{FF2B5EF4-FFF2-40B4-BE49-F238E27FC236}">
                  <a16:creationId xmlns:a16="http://schemas.microsoft.com/office/drawing/2014/main" id="{D2612C30-69DB-DD74-58EC-C3BD6364CAED}"/>
                </a:ext>
              </a:extLst>
            </p:cNvPr>
            <p:cNvSpPr>
              <a:spLocks/>
            </p:cNvSpPr>
            <p:nvPr/>
          </p:nvSpPr>
          <p:spPr>
            <a:xfrm>
              <a:off x="7092280" y="3807801"/>
              <a:ext cx="1296144" cy="108571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61" name="図形グループ 52">
              <a:extLst>
                <a:ext uri="{FF2B5EF4-FFF2-40B4-BE49-F238E27FC236}">
                  <a16:creationId xmlns:a16="http://schemas.microsoft.com/office/drawing/2014/main" id="{3DBC24C1-E3F1-6D5E-F4F2-3962075C116A}"/>
                </a:ext>
              </a:extLst>
            </p:cNvPr>
            <p:cNvGrpSpPr/>
            <p:nvPr/>
          </p:nvGrpSpPr>
          <p:grpSpPr>
            <a:xfrm>
              <a:off x="6925921" y="3515499"/>
              <a:ext cx="296586" cy="293005"/>
              <a:chOff x="5101121" y="3995693"/>
              <a:chExt cx="296586" cy="293005"/>
            </a:xfrm>
          </p:grpSpPr>
          <p:sp>
            <p:nvSpPr>
              <p:cNvPr id="62" name="円/楕円 53">
                <a:extLst>
                  <a:ext uri="{FF2B5EF4-FFF2-40B4-BE49-F238E27FC236}">
                    <a16:creationId xmlns:a16="http://schemas.microsoft.com/office/drawing/2014/main" id="{B8FC48D7-E7A6-DF83-2EC4-6D661DBFE408}"/>
                  </a:ext>
                </a:extLst>
              </p:cNvPr>
              <p:cNvSpPr/>
              <p:nvPr/>
            </p:nvSpPr>
            <p:spPr>
              <a:xfrm>
                <a:off x="510235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63" name="フリーフォーム 54">
                <a:extLst>
                  <a:ext uri="{FF2B5EF4-FFF2-40B4-BE49-F238E27FC236}">
                    <a16:creationId xmlns:a16="http://schemas.microsoft.com/office/drawing/2014/main" id="{31BFD9D0-4571-7065-3D5E-83427A28B608}"/>
                  </a:ext>
                </a:extLst>
              </p:cNvPr>
              <p:cNvSpPr/>
              <p:nvPr/>
            </p:nvSpPr>
            <p:spPr>
              <a:xfrm>
                <a:off x="510112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4224" y="102715"/>
                    </a:moveTo>
                    <a:lnTo>
                      <a:pt x="144224" y="158060"/>
                    </a:lnTo>
                    <a:lnTo>
                      <a:pt x="100924" y="158060"/>
                    </a:lnTo>
                    <a:close/>
                    <a:moveTo>
                      <a:pt x="149595" y="46392"/>
                    </a:moveTo>
                    <a:lnTo>
                      <a:pt x="62996" y="153991"/>
                    </a:lnTo>
                    <a:lnTo>
                      <a:pt x="62996" y="190616"/>
                    </a:lnTo>
                    <a:lnTo>
                      <a:pt x="144224" y="190616"/>
                    </a:lnTo>
                    <a:lnTo>
                      <a:pt x="144224" y="241078"/>
                    </a:lnTo>
                    <a:lnTo>
                      <a:pt x="187686" y="241078"/>
                    </a:lnTo>
                    <a:lnTo>
                      <a:pt x="187686" y="190616"/>
                    </a:lnTo>
                    <a:lnTo>
                      <a:pt x="212592" y="190616"/>
                    </a:lnTo>
                    <a:lnTo>
                      <a:pt x="212592" y="158060"/>
                    </a:lnTo>
                    <a:lnTo>
                      <a:pt x="187686" y="158060"/>
                    </a:lnTo>
                    <a:lnTo>
                      <a:pt x="187686" y="46392"/>
                    </a:ln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7023814E-BD9B-0474-9C6D-F149E7C15B9E}"/>
                </a:ext>
              </a:extLst>
            </p:cNvPr>
            <p:cNvSpPr>
              <a:spLocks/>
            </p:cNvSpPr>
            <p:nvPr/>
          </p:nvSpPr>
          <p:spPr>
            <a:xfrm>
              <a:off x="7743021" y="5496565"/>
              <a:ext cx="521707" cy="291601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6" name="図形グループ 52">
              <a:extLst>
                <a:ext uri="{FF2B5EF4-FFF2-40B4-BE49-F238E27FC236}">
                  <a16:creationId xmlns:a16="http://schemas.microsoft.com/office/drawing/2014/main" id="{38AFB2DC-98B5-CFEC-D7B4-15FD12B6D1BE}"/>
                </a:ext>
              </a:extLst>
            </p:cNvPr>
            <p:cNvGrpSpPr/>
            <p:nvPr/>
          </p:nvGrpSpPr>
          <p:grpSpPr>
            <a:xfrm>
              <a:off x="7547767" y="5184101"/>
              <a:ext cx="296586" cy="293005"/>
              <a:chOff x="5101121" y="3995693"/>
              <a:chExt cx="296586" cy="293005"/>
            </a:xfrm>
          </p:grpSpPr>
          <p:sp>
            <p:nvSpPr>
              <p:cNvPr id="7" name="円/楕円 53">
                <a:extLst>
                  <a:ext uri="{FF2B5EF4-FFF2-40B4-BE49-F238E27FC236}">
                    <a16:creationId xmlns:a16="http://schemas.microsoft.com/office/drawing/2014/main" id="{D7E053D9-656A-013F-0FC4-17319E2BA6AA}"/>
                  </a:ext>
                </a:extLst>
              </p:cNvPr>
              <p:cNvSpPr/>
              <p:nvPr/>
            </p:nvSpPr>
            <p:spPr>
              <a:xfrm>
                <a:off x="510235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8" name="フリーフォーム 54">
                <a:extLst>
                  <a:ext uri="{FF2B5EF4-FFF2-40B4-BE49-F238E27FC236}">
                    <a16:creationId xmlns:a16="http://schemas.microsoft.com/office/drawing/2014/main" id="{CD713A03-30AD-3843-2051-70698B42EF3E}"/>
                  </a:ext>
                </a:extLst>
              </p:cNvPr>
              <p:cNvSpPr/>
              <p:nvPr/>
            </p:nvSpPr>
            <p:spPr>
              <a:xfrm>
                <a:off x="510112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4224" y="102715"/>
                    </a:moveTo>
                    <a:lnTo>
                      <a:pt x="144224" y="158060"/>
                    </a:lnTo>
                    <a:lnTo>
                      <a:pt x="100924" y="158060"/>
                    </a:lnTo>
                    <a:close/>
                    <a:moveTo>
                      <a:pt x="149595" y="46392"/>
                    </a:moveTo>
                    <a:lnTo>
                      <a:pt x="62996" y="153991"/>
                    </a:lnTo>
                    <a:lnTo>
                      <a:pt x="62996" y="190616"/>
                    </a:lnTo>
                    <a:lnTo>
                      <a:pt x="144224" y="190616"/>
                    </a:lnTo>
                    <a:lnTo>
                      <a:pt x="144224" y="241078"/>
                    </a:lnTo>
                    <a:lnTo>
                      <a:pt x="187686" y="241078"/>
                    </a:lnTo>
                    <a:lnTo>
                      <a:pt x="187686" y="190616"/>
                    </a:lnTo>
                    <a:lnTo>
                      <a:pt x="212592" y="190616"/>
                    </a:lnTo>
                    <a:lnTo>
                      <a:pt x="212592" y="158060"/>
                    </a:lnTo>
                    <a:lnTo>
                      <a:pt x="187686" y="158060"/>
                    </a:lnTo>
                    <a:lnTo>
                      <a:pt x="187686" y="46392"/>
                    </a:ln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55344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 kumimoji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FC5EA13524B040B8FB4A24C9C48CB1" ma:contentTypeVersion="1" ma:contentTypeDescription="Create a new document." ma:contentTypeScope="" ma:versionID="128d723f0e7cd1d097b8ec7dd37d6063">
  <xsd:schema xmlns:xsd="http://www.w3.org/2001/XMLSchema" xmlns:xs="http://www.w3.org/2001/XMLSchema" xmlns:p="http://schemas.microsoft.com/office/2006/metadata/properties" xmlns:ns2="1c316a70-1c3f-4244-a711-26590f222ff0" targetNamespace="http://schemas.microsoft.com/office/2006/metadata/properties" ma:root="true" ma:fieldsID="e308ae570fd73c0fe621d1b6db3dc176" ns2:_="">
    <xsd:import namespace="1c316a70-1c3f-4244-a711-26590f222ff0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316a70-1c3f-4244-a711-26590f222ff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E33E578-A070-43C3-8299-FBA9D3E18431}">
  <ds:schemaRefs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purl.org/dc/terms/"/>
    <ds:schemaRef ds:uri="http://schemas.microsoft.com/office/infopath/2007/PartnerControls"/>
    <ds:schemaRef ds:uri="1ccc0202-570a-4c76-b717-959d73301744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98A21F4-62DD-4529-B5E1-B7E61A1C719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BB624FC-E75C-4973-A5A5-DD26B16FBE4E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211</Words>
  <PresentationFormat>画面に合わせる (4:3)</PresentationFormat>
  <Paragraphs>212</Paragraphs>
  <Slides>22</Slides>
  <Notes>2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2</vt:i4>
      </vt:variant>
    </vt:vector>
  </HeadingPairs>
  <TitlesOfParts>
    <vt:vector size="31" baseType="lpstr">
      <vt:lpstr>BIZ UDゴシック</vt:lpstr>
      <vt:lpstr>Meiryo</vt:lpstr>
      <vt:lpstr>Meiryo</vt:lpstr>
      <vt:lpstr>Yu Gothic</vt:lpstr>
      <vt:lpstr>Arial</vt:lpstr>
      <vt:lpstr>Calibri</vt:lpstr>
      <vt:lpstr>Calibri Light</vt:lpstr>
      <vt:lpstr>ホワイト</vt:lpstr>
      <vt:lpstr>think-cell スライド</vt:lpstr>
      <vt:lpstr>PowerPoint プレゼンテーション</vt:lpstr>
      <vt:lpstr>PowerPoint プレゼンテーション</vt:lpstr>
      <vt:lpstr>PowerPoint プレゼンテーション</vt:lpstr>
      <vt:lpstr>とは？</vt:lpstr>
      <vt:lpstr>FUN+WALKアプリとは？</vt:lpstr>
      <vt:lpstr>PowerPoint プレゼンテーション</vt:lpstr>
      <vt:lpstr>FUN+WALK アプリのインストール方法</vt:lpstr>
      <vt:lpstr>FUN+WALK アプリのインストール方法</vt:lpstr>
      <vt:lpstr>FUN+WALKアプリの利用設定</vt:lpstr>
      <vt:lpstr>FUN+WALKアプリの利用設定</vt:lpstr>
      <vt:lpstr>FUN+WALKアプリの利用設定</vt:lpstr>
      <vt:lpstr>FUN+WALKアプリの利用設定</vt:lpstr>
      <vt:lpstr>FUN+WALKアプリの利用設定</vt:lpstr>
      <vt:lpstr>FUN+WALKアプリの利用設定</vt:lpstr>
      <vt:lpstr>PowerPoint プレゼンテーション</vt:lpstr>
      <vt:lpstr>キャラクターを変身させよう</vt:lpstr>
      <vt:lpstr>キャラクターを変身させよう</vt:lpstr>
      <vt:lpstr>キャラクターを変更しよう</vt:lpstr>
      <vt:lpstr>キャラクターを変更しよう</vt:lpstr>
      <vt:lpstr>ポイントを交換してみよう</vt:lpstr>
      <vt:lpstr>ポイントを交換してみよう</vt:lpstr>
      <vt:lpstr>問い合わせ先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dcterms:created xsi:type="dcterms:W3CDTF">2023-09-26T07:08:30Z</dcterms:created>
  <dcterms:modified xsi:type="dcterms:W3CDTF">2024-07-06T10:18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8FC5EA13524B040B8FB4A24C9C48CB1</vt:lpwstr>
  </property>
</Properties>
</file>